
<file path=[Content_Types].xml><?xml version="1.0" encoding="utf-8"?>
<Types xmlns="http://schemas.openxmlformats.org/package/2006/content-types">
  <Default Extension="png" ContentType="image/png"/>
  <Default Extension="tmp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gif" ContentType="image/gi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2.xml" ContentType="application/vnd.openxmlformats-officedocument.theme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0" r:id="rId2"/>
    <p:sldMasterId id="2147483709" r:id="rId3"/>
  </p:sldMasterIdLst>
  <p:sldIdLst>
    <p:sldId id="266" r:id="rId4"/>
    <p:sldId id="258" r:id="rId5"/>
    <p:sldId id="259" r:id="rId6"/>
    <p:sldId id="260" r:id="rId7"/>
    <p:sldId id="261" r:id="rId8"/>
    <p:sldId id="262" r:id="rId9"/>
    <p:sldId id="263" r:id="rId10"/>
    <p:sldId id="264" r:id="rId11"/>
    <p:sldId id="265" r:id="rId12"/>
    <p:sldId id="267" r:id="rId13"/>
    <p:sldId id="268" r:id="rId14"/>
    <p:sldId id="269" r:id="rId15"/>
    <p:sldId id="270" r:id="rId16"/>
    <p:sldId id="271" r:id="rId17"/>
    <p:sldId id="291" r:id="rId18"/>
    <p:sldId id="292" r:id="rId19"/>
    <p:sldId id="272" r:id="rId20"/>
    <p:sldId id="273" r:id="rId21"/>
    <p:sldId id="274" r:id="rId22"/>
    <p:sldId id="275" r:id="rId23"/>
    <p:sldId id="280" r:id="rId24"/>
    <p:sldId id="281" r:id="rId25"/>
    <p:sldId id="282" r:id="rId26"/>
    <p:sldId id="283" r:id="rId27"/>
    <p:sldId id="284" r:id="rId28"/>
    <p:sldId id="285" r:id="rId29"/>
    <p:sldId id="286" r:id="rId30"/>
    <p:sldId id="287" r:id="rId31"/>
    <p:sldId id="288" r:id="rId32"/>
    <p:sldId id="289" r:id="rId33"/>
    <p:sldId id="276" r:id="rId34"/>
    <p:sldId id="290" r:id="rId35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>
      <p:cViewPr>
        <p:scale>
          <a:sx n="82" d="100"/>
          <a:sy n="82" d="100"/>
        </p:scale>
        <p:origin x="-1014" y="474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26" Type="http://schemas.openxmlformats.org/officeDocument/2006/relationships/slide" Target="slides/slide23.xml"/><Relationship Id="rId39" Type="http://schemas.openxmlformats.org/officeDocument/2006/relationships/tableStyles" Target="tableStyles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8.xml"/><Relationship Id="rId34" Type="http://schemas.openxmlformats.org/officeDocument/2006/relationships/slide" Target="slides/slide31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slide" Target="slides/slide22.xml"/><Relationship Id="rId33" Type="http://schemas.openxmlformats.org/officeDocument/2006/relationships/slide" Target="slides/slide30.xml"/><Relationship Id="rId38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0" Type="http://schemas.openxmlformats.org/officeDocument/2006/relationships/slide" Target="slides/slide17.xml"/><Relationship Id="rId29" Type="http://schemas.openxmlformats.org/officeDocument/2006/relationships/slide" Target="slides/slide26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slide" Target="slides/slide21.xml"/><Relationship Id="rId32" Type="http://schemas.openxmlformats.org/officeDocument/2006/relationships/slide" Target="slides/slide29.xml"/><Relationship Id="rId37" Type="http://schemas.openxmlformats.org/officeDocument/2006/relationships/viewProps" Target="viewProps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slide" Target="slides/slide20.xml"/><Relationship Id="rId28" Type="http://schemas.openxmlformats.org/officeDocument/2006/relationships/slide" Target="slides/slide25.xml"/><Relationship Id="rId36" Type="http://schemas.openxmlformats.org/officeDocument/2006/relationships/presProps" Target="presProps.xml"/><Relationship Id="rId10" Type="http://schemas.openxmlformats.org/officeDocument/2006/relationships/slide" Target="slides/slide7.xml"/><Relationship Id="rId19" Type="http://schemas.openxmlformats.org/officeDocument/2006/relationships/slide" Target="slides/slide16.xml"/><Relationship Id="rId31" Type="http://schemas.openxmlformats.org/officeDocument/2006/relationships/slide" Target="slides/slide28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slide" Target="slides/slide19.xml"/><Relationship Id="rId27" Type="http://schemas.openxmlformats.org/officeDocument/2006/relationships/slide" Target="slides/slide24.xml"/><Relationship Id="rId30" Type="http://schemas.openxmlformats.org/officeDocument/2006/relationships/slide" Target="slides/slide27.xml"/><Relationship Id="rId35" Type="http://schemas.openxmlformats.org/officeDocument/2006/relationships/slide" Target="slides/slide32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2_2">
  <dgm:title val=""/>
  <dgm:desc val=""/>
  <dgm:catLst>
    <dgm:cat type="accent2" pri="112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ln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58B5C10A-C3A2-4161-9828-D95F45FE57AA}" type="doc">
      <dgm:prSet loTypeId="urn:microsoft.com/office/officeart/2008/layout/HorizontalMultiLevelHierarchy" loCatId="hierarchy" qsTypeId="urn:microsoft.com/office/officeart/2005/8/quickstyle/3d3" qsCatId="3D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E7F1243F-5939-4496-8B8B-6D652C437068}">
      <dgm:prSet phldrT="[Text]"/>
      <dgm:spPr/>
      <dgm:t>
        <a:bodyPr/>
        <a:lstStyle/>
        <a:p>
          <a:r>
            <a:rPr lang="en-US" dirty="0" smtClean="0"/>
            <a:t>ACCOUNTS</a:t>
          </a:r>
          <a:endParaRPr lang="en-US" dirty="0"/>
        </a:p>
      </dgm:t>
    </dgm:pt>
    <dgm:pt modelId="{3382732B-FC82-4D75-BB18-57567FD9DBBF}" type="parTrans" cxnId="{157C62C6-4878-4A2A-9FA6-7BF7709438FF}">
      <dgm:prSet/>
      <dgm:spPr/>
      <dgm:t>
        <a:bodyPr/>
        <a:lstStyle/>
        <a:p>
          <a:endParaRPr lang="en-US"/>
        </a:p>
      </dgm:t>
    </dgm:pt>
    <dgm:pt modelId="{AB65D03C-A628-4BC3-9942-EFB244354752}" type="sibTrans" cxnId="{157C62C6-4878-4A2A-9FA6-7BF7709438FF}">
      <dgm:prSet/>
      <dgm:spPr/>
      <dgm:t>
        <a:bodyPr/>
        <a:lstStyle/>
        <a:p>
          <a:endParaRPr lang="en-US"/>
        </a:p>
      </dgm:t>
    </dgm:pt>
    <dgm:pt modelId="{0FF4C804-F590-4101-A221-F15B95F79808}">
      <dgm:prSet phldrT="[Text]"/>
      <dgm:spPr/>
      <dgm:t>
        <a:bodyPr/>
        <a:lstStyle/>
        <a:p>
          <a:r>
            <a:rPr lang="en-US" dirty="0" smtClean="0"/>
            <a:t>Personal Accounts</a:t>
          </a:r>
          <a:endParaRPr lang="en-US" dirty="0"/>
        </a:p>
      </dgm:t>
    </dgm:pt>
    <dgm:pt modelId="{D56AD2A0-F64F-4255-B0F4-5E5C92298BF9}" type="parTrans" cxnId="{B7EC1884-0E0F-4695-9812-5DD8B1F6E865}">
      <dgm:prSet/>
      <dgm:spPr/>
      <dgm:t>
        <a:bodyPr/>
        <a:lstStyle/>
        <a:p>
          <a:endParaRPr lang="en-US"/>
        </a:p>
      </dgm:t>
    </dgm:pt>
    <dgm:pt modelId="{89AE5605-CD81-477A-B81A-14BFD519947D}" type="sibTrans" cxnId="{B7EC1884-0E0F-4695-9812-5DD8B1F6E865}">
      <dgm:prSet/>
      <dgm:spPr/>
      <dgm:t>
        <a:bodyPr/>
        <a:lstStyle/>
        <a:p>
          <a:endParaRPr lang="en-US"/>
        </a:p>
      </dgm:t>
    </dgm:pt>
    <dgm:pt modelId="{8B869A8D-D5F4-4397-8A2C-8ED06EAA2F19}">
      <dgm:prSet phldrT="[Text]"/>
      <dgm:spPr/>
      <dgm:t>
        <a:bodyPr/>
        <a:lstStyle/>
        <a:p>
          <a:r>
            <a:rPr lang="en-US" dirty="0" smtClean="0"/>
            <a:t>Real Accounts</a:t>
          </a:r>
          <a:endParaRPr lang="en-US" dirty="0"/>
        </a:p>
      </dgm:t>
    </dgm:pt>
    <dgm:pt modelId="{322EF7D2-D6F9-433C-A2A8-E31462E10794}" type="parTrans" cxnId="{272C0E6F-CE97-409F-AC97-7D3DEFCDEB8C}">
      <dgm:prSet/>
      <dgm:spPr/>
      <dgm:t>
        <a:bodyPr/>
        <a:lstStyle/>
        <a:p>
          <a:endParaRPr lang="en-US"/>
        </a:p>
      </dgm:t>
    </dgm:pt>
    <dgm:pt modelId="{219FC35C-51BE-45C7-ADAF-DD0C3F915CBA}" type="sibTrans" cxnId="{272C0E6F-CE97-409F-AC97-7D3DEFCDEB8C}">
      <dgm:prSet/>
      <dgm:spPr/>
      <dgm:t>
        <a:bodyPr/>
        <a:lstStyle/>
        <a:p>
          <a:endParaRPr lang="en-US"/>
        </a:p>
      </dgm:t>
    </dgm:pt>
    <dgm:pt modelId="{11FE58DD-BC9C-4463-AA2C-ABA3DC8375C7}">
      <dgm:prSet phldrT="[Text]"/>
      <dgm:spPr/>
      <dgm:t>
        <a:bodyPr/>
        <a:lstStyle/>
        <a:p>
          <a:r>
            <a:rPr lang="en-US" dirty="0" smtClean="0"/>
            <a:t>Nominal Accounts</a:t>
          </a:r>
          <a:endParaRPr lang="en-US" dirty="0"/>
        </a:p>
      </dgm:t>
    </dgm:pt>
    <dgm:pt modelId="{798D37D4-CC11-4978-9B65-8EB6B735ED10}" type="parTrans" cxnId="{23DFC89B-D1AE-44AD-BD06-B56873419A9B}">
      <dgm:prSet/>
      <dgm:spPr/>
      <dgm:t>
        <a:bodyPr/>
        <a:lstStyle/>
        <a:p>
          <a:endParaRPr lang="en-US"/>
        </a:p>
      </dgm:t>
    </dgm:pt>
    <dgm:pt modelId="{68105CAE-DA77-4E4F-A312-BD92E02DF0D0}" type="sibTrans" cxnId="{23DFC89B-D1AE-44AD-BD06-B56873419A9B}">
      <dgm:prSet/>
      <dgm:spPr/>
      <dgm:t>
        <a:bodyPr/>
        <a:lstStyle/>
        <a:p>
          <a:endParaRPr lang="en-US"/>
        </a:p>
      </dgm:t>
    </dgm:pt>
    <dgm:pt modelId="{6B6BB344-AC4D-4C8F-95BD-0E1C533BAD89}" type="pres">
      <dgm:prSet presAssocID="{58B5C10A-C3A2-4161-9828-D95F45FE57AA}" presName="Name0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C6686396-A088-4886-B4AD-CB046EE2104F}" type="pres">
      <dgm:prSet presAssocID="{E7F1243F-5939-4496-8B8B-6D652C437068}" presName="root1" presStyleCnt="0"/>
      <dgm:spPr/>
    </dgm:pt>
    <dgm:pt modelId="{0D28CA98-59D7-4B14-A205-E77B66B3E1C1}" type="pres">
      <dgm:prSet presAssocID="{E7F1243F-5939-4496-8B8B-6D652C437068}" presName="LevelOneTextNode" presStyleLbl="node0" presStyleIdx="0" presStyleCnt="1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0305F1B8-6157-4492-8F35-FDFD69C0CB0B}" type="pres">
      <dgm:prSet presAssocID="{E7F1243F-5939-4496-8B8B-6D652C437068}" presName="level2hierChild" presStyleCnt="0"/>
      <dgm:spPr/>
    </dgm:pt>
    <dgm:pt modelId="{633AA4ED-6B76-408B-8C7D-E4F7D3210715}" type="pres">
      <dgm:prSet presAssocID="{D56AD2A0-F64F-4255-B0F4-5E5C92298BF9}" presName="conn2-1" presStyleLbl="parChTrans1D2" presStyleIdx="0" presStyleCnt="3"/>
      <dgm:spPr/>
      <dgm:t>
        <a:bodyPr/>
        <a:lstStyle/>
        <a:p>
          <a:endParaRPr lang="en-US"/>
        </a:p>
      </dgm:t>
    </dgm:pt>
    <dgm:pt modelId="{94DCCB71-98EA-41BE-B9BB-A1DDC7388C45}" type="pres">
      <dgm:prSet presAssocID="{D56AD2A0-F64F-4255-B0F4-5E5C92298BF9}" presName="connTx" presStyleLbl="parChTrans1D2" presStyleIdx="0" presStyleCnt="3"/>
      <dgm:spPr/>
      <dgm:t>
        <a:bodyPr/>
        <a:lstStyle/>
        <a:p>
          <a:endParaRPr lang="en-US"/>
        </a:p>
      </dgm:t>
    </dgm:pt>
    <dgm:pt modelId="{03B9DBA7-EED0-4DA6-B964-7AA641F43FF2}" type="pres">
      <dgm:prSet presAssocID="{0FF4C804-F590-4101-A221-F15B95F79808}" presName="root2" presStyleCnt="0"/>
      <dgm:spPr/>
    </dgm:pt>
    <dgm:pt modelId="{45D12000-0D68-43D8-886A-19583409DA1E}" type="pres">
      <dgm:prSet presAssocID="{0FF4C804-F590-4101-A221-F15B95F79808}" presName="LevelTwoTextNode" presStyleLbl="node2" presStyleIdx="0" presStyleCnt="3" custScaleX="116063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D2B1C60F-214E-4FBA-B227-BC6B38490A8F}" type="pres">
      <dgm:prSet presAssocID="{0FF4C804-F590-4101-A221-F15B95F79808}" presName="level3hierChild" presStyleCnt="0"/>
      <dgm:spPr/>
    </dgm:pt>
    <dgm:pt modelId="{F3CDD584-C9D8-41B7-8A20-2F9B6C70A375}" type="pres">
      <dgm:prSet presAssocID="{322EF7D2-D6F9-433C-A2A8-E31462E10794}" presName="conn2-1" presStyleLbl="parChTrans1D2" presStyleIdx="1" presStyleCnt="3"/>
      <dgm:spPr/>
      <dgm:t>
        <a:bodyPr/>
        <a:lstStyle/>
        <a:p>
          <a:endParaRPr lang="en-US"/>
        </a:p>
      </dgm:t>
    </dgm:pt>
    <dgm:pt modelId="{5E3E6EA1-B492-4360-96E7-86D1699A0B54}" type="pres">
      <dgm:prSet presAssocID="{322EF7D2-D6F9-433C-A2A8-E31462E10794}" presName="connTx" presStyleLbl="parChTrans1D2" presStyleIdx="1" presStyleCnt="3"/>
      <dgm:spPr/>
      <dgm:t>
        <a:bodyPr/>
        <a:lstStyle/>
        <a:p>
          <a:endParaRPr lang="en-US"/>
        </a:p>
      </dgm:t>
    </dgm:pt>
    <dgm:pt modelId="{52DFC26E-1265-4CFC-852A-B40F8B58488C}" type="pres">
      <dgm:prSet presAssocID="{8B869A8D-D5F4-4397-8A2C-8ED06EAA2F19}" presName="root2" presStyleCnt="0"/>
      <dgm:spPr/>
    </dgm:pt>
    <dgm:pt modelId="{BA12036D-BB0D-4707-BA86-554565E0C513}" type="pres">
      <dgm:prSet presAssocID="{8B869A8D-D5F4-4397-8A2C-8ED06EAA2F19}" presName="LevelTwoTextNode" presStyleLbl="node2" presStyleIdx="1" presStyleCnt="3" custScaleX="116063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0794F85C-A7F0-4819-AEE7-66F507F4B607}" type="pres">
      <dgm:prSet presAssocID="{8B869A8D-D5F4-4397-8A2C-8ED06EAA2F19}" presName="level3hierChild" presStyleCnt="0"/>
      <dgm:spPr/>
    </dgm:pt>
    <dgm:pt modelId="{842F16EE-477F-4CD9-B580-0C7E21392724}" type="pres">
      <dgm:prSet presAssocID="{798D37D4-CC11-4978-9B65-8EB6B735ED10}" presName="conn2-1" presStyleLbl="parChTrans1D2" presStyleIdx="2" presStyleCnt="3"/>
      <dgm:spPr/>
      <dgm:t>
        <a:bodyPr/>
        <a:lstStyle/>
        <a:p>
          <a:endParaRPr lang="en-US"/>
        </a:p>
      </dgm:t>
    </dgm:pt>
    <dgm:pt modelId="{4D69D911-9D5C-45B7-BC28-853FFB635752}" type="pres">
      <dgm:prSet presAssocID="{798D37D4-CC11-4978-9B65-8EB6B735ED10}" presName="connTx" presStyleLbl="parChTrans1D2" presStyleIdx="2" presStyleCnt="3"/>
      <dgm:spPr/>
      <dgm:t>
        <a:bodyPr/>
        <a:lstStyle/>
        <a:p>
          <a:endParaRPr lang="en-US"/>
        </a:p>
      </dgm:t>
    </dgm:pt>
    <dgm:pt modelId="{5EF3A40E-5493-461F-96E7-6D8568995247}" type="pres">
      <dgm:prSet presAssocID="{11FE58DD-BC9C-4463-AA2C-ABA3DC8375C7}" presName="root2" presStyleCnt="0"/>
      <dgm:spPr/>
    </dgm:pt>
    <dgm:pt modelId="{73BF00F7-DAFD-4C28-B447-5BB9C3DD17B3}" type="pres">
      <dgm:prSet presAssocID="{11FE58DD-BC9C-4463-AA2C-ABA3DC8375C7}" presName="LevelTwoTextNode" presStyleLbl="node2" presStyleIdx="2" presStyleCnt="3" custScaleX="116063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AFAC1DEE-61A5-41C1-94F0-C5ADF4A77E35}" type="pres">
      <dgm:prSet presAssocID="{11FE58DD-BC9C-4463-AA2C-ABA3DC8375C7}" presName="level3hierChild" presStyleCnt="0"/>
      <dgm:spPr/>
    </dgm:pt>
  </dgm:ptLst>
  <dgm:cxnLst>
    <dgm:cxn modelId="{B08755EC-C770-41BF-AB10-5C9DAFAA6F72}" type="presOf" srcId="{0FF4C804-F590-4101-A221-F15B95F79808}" destId="{45D12000-0D68-43D8-886A-19583409DA1E}" srcOrd="0" destOrd="0" presId="urn:microsoft.com/office/officeart/2008/layout/HorizontalMultiLevelHierarchy"/>
    <dgm:cxn modelId="{4CCFB78B-9A65-4665-81E2-99C8D5ECC2C4}" type="presOf" srcId="{8B869A8D-D5F4-4397-8A2C-8ED06EAA2F19}" destId="{BA12036D-BB0D-4707-BA86-554565E0C513}" srcOrd="0" destOrd="0" presId="urn:microsoft.com/office/officeart/2008/layout/HorizontalMultiLevelHierarchy"/>
    <dgm:cxn modelId="{A66A4184-1338-4B8D-B616-351317406802}" type="presOf" srcId="{D56AD2A0-F64F-4255-B0F4-5E5C92298BF9}" destId="{633AA4ED-6B76-408B-8C7D-E4F7D3210715}" srcOrd="0" destOrd="0" presId="urn:microsoft.com/office/officeart/2008/layout/HorizontalMultiLevelHierarchy"/>
    <dgm:cxn modelId="{7ED53E6E-7364-49F8-9B4C-6F50BE389874}" type="presOf" srcId="{E7F1243F-5939-4496-8B8B-6D652C437068}" destId="{0D28CA98-59D7-4B14-A205-E77B66B3E1C1}" srcOrd="0" destOrd="0" presId="urn:microsoft.com/office/officeart/2008/layout/HorizontalMultiLevelHierarchy"/>
    <dgm:cxn modelId="{4163F754-EA38-49E9-B214-BAE17F40C968}" type="presOf" srcId="{322EF7D2-D6F9-433C-A2A8-E31462E10794}" destId="{5E3E6EA1-B492-4360-96E7-86D1699A0B54}" srcOrd="1" destOrd="0" presId="urn:microsoft.com/office/officeart/2008/layout/HorizontalMultiLevelHierarchy"/>
    <dgm:cxn modelId="{41415434-1F32-47DD-8B54-51614EDE23A3}" type="presOf" srcId="{58B5C10A-C3A2-4161-9828-D95F45FE57AA}" destId="{6B6BB344-AC4D-4C8F-95BD-0E1C533BAD89}" srcOrd="0" destOrd="0" presId="urn:microsoft.com/office/officeart/2008/layout/HorizontalMultiLevelHierarchy"/>
    <dgm:cxn modelId="{B7EC1884-0E0F-4695-9812-5DD8B1F6E865}" srcId="{E7F1243F-5939-4496-8B8B-6D652C437068}" destId="{0FF4C804-F590-4101-A221-F15B95F79808}" srcOrd="0" destOrd="0" parTransId="{D56AD2A0-F64F-4255-B0F4-5E5C92298BF9}" sibTransId="{89AE5605-CD81-477A-B81A-14BFD519947D}"/>
    <dgm:cxn modelId="{F5A7364A-7C20-463D-AB04-53A25D6F6D20}" type="presOf" srcId="{D56AD2A0-F64F-4255-B0F4-5E5C92298BF9}" destId="{94DCCB71-98EA-41BE-B9BB-A1DDC7388C45}" srcOrd="1" destOrd="0" presId="urn:microsoft.com/office/officeart/2008/layout/HorizontalMultiLevelHierarchy"/>
    <dgm:cxn modelId="{9119D3BE-ED8D-4247-903F-00C33EE65763}" type="presOf" srcId="{798D37D4-CC11-4978-9B65-8EB6B735ED10}" destId="{842F16EE-477F-4CD9-B580-0C7E21392724}" srcOrd="0" destOrd="0" presId="urn:microsoft.com/office/officeart/2008/layout/HorizontalMultiLevelHierarchy"/>
    <dgm:cxn modelId="{E15BCC36-7546-463C-BF58-2E5CB508E760}" type="presOf" srcId="{322EF7D2-D6F9-433C-A2A8-E31462E10794}" destId="{F3CDD584-C9D8-41B7-8A20-2F9B6C70A375}" srcOrd="0" destOrd="0" presId="urn:microsoft.com/office/officeart/2008/layout/HorizontalMultiLevelHierarchy"/>
    <dgm:cxn modelId="{4A39A854-633F-4978-9C43-FBECBD6D4898}" type="presOf" srcId="{11FE58DD-BC9C-4463-AA2C-ABA3DC8375C7}" destId="{73BF00F7-DAFD-4C28-B447-5BB9C3DD17B3}" srcOrd="0" destOrd="0" presId="urn:microsoft.com/office/officeart/2008/layout/HorizontalMultiLevelHierarchy"/>
    <dgm:cxn modelId="{23DFC89B-D1AE-44AD-BD06-B56873419A9B}" srcId="{E7F1243F-5939-4496-8B8B-6D652C437068}" destId="{11FE58DD-BC9C-4463-AA2C-ABA3DC8375C7}" srcOrd="2" destOrd="0" parTransId="{798D37D4-CC11-4978-9B65-8EB6B735ED10}" sibTransId="{68105CAE-DA77-4E4F-A312-BD92E02DF0D0}"/>
    <dgm:cxn modelId="{272C0E6F-CE97-409F-AC97-7D3DEFCDEB8C}" srcId="{E7F1243F-5939-4496-8B8B-6D652C437068}" destId="{8B869A8D-D5F4-4397-8A2C-8ED06EAA2F19}" srcOrd="1" destOrd="0" parTransId="{322EF7D2-D6F9-433C-A2A8-E31462E10794}" sibTransId="{219FC35C-51BE-45C7-ADAF-DD0C3F915CBA}"/>
    <dgm:cxn modelId="{A45CD2A5-6D3B-48E7-ACC6-FAF049E91111}" type="presOf" srcId="{798D37D4-CC11-4978-9B65-8EB6B735ED10}" destId="{4D69D911-9D5C-45B7-BC28-853FFB635752}" srcOrd="1" destOrd="0" presId="urn:microsoft.com/office/officeart/2008/layout/HorizontalMultiLevelHierarchy"/>
    <dgm:cxn modelId="{157C62C6-4878-4A2A-9FA6-7BF7709438FF}" srcId="{58B5C10A-C3A2-4161-9828-D95F45FE57AA}" destId="{E7F1243F-5939-4496-8B8B-6D652C437068}" srcOrd="0" destOrd="0" parTransId="{3382732B-FC82-4D75-BB18-57567FD9DBBF}" sibTransId="{AB65D03C-A628-4BC3-9942-EFB244354752}"/>
    <dgm:cxn modelId="{47A072B1-5379-4741-8ED3-B70490AF505B}" type="presParOf" srcId="{6B6BB344-AC4D-4C8F-95BD-0E1C533BAD89}" destId="{C6686396-A088-4886-B4AD-CB046EE2104F}" srcOrd="0" destOrd="0" presId="urn:microsoft.com/office/officeart/2008/layout/HorizontalMultiLevelHierarchy"/>
    <dgm:cxn modelId="{D1ED2C77-AFFB-4BDF-B893-474DA16BE290}" type="presParOf" srcId="{C6686396-A088-4886-B4AD-CB046EE2104F}" destId="{0D28CA98-59D7-4B14-A205-E77B66B3E1C1}" srcOrd="0" destOrd="0" presId="urn:microsoft.com/office/officeart/2008/layout/HorizontalMultiLevelHierarchy"/>
    <dgm:cxn modelId="{D0DF8076-3F7F-4A5E-B08C-FDA283CA8646}" type="presParOf" srcId="{C6686396-A088-4886-B4AD-CB046EE2104F}" destId="{0305F1B8-6157-4492-8F35-FDFD69C0CB0B}" srcOrd="1" destOrd="0" presId="urn:microsoft.com/office/officeart/2008/layout/HorizontalMultiLevelHierarchy"/>
    <dgm:cxn modelId="{0120CE3F-3B2C-45DA-B05D-4FC7AAA4C744}" type="presParOf" srcId="{0305F1B8-6157-4492-8F35-FDFD69C0CB0B}" destId="{633AA4ED-6B76-408B-8C7D-E4F7D3210715}" srcOrd="0" destOrd="0" presId="urn:microsoft.com/office/officeart/2008/layout/HorizontalMultiLevelHierarchy"/>
    <dgm:cxn modelId="{0B4E4D5B-0D0A-4DE2-B235-7463ED90AB19}" type="presParOf" srcId="{633AA4ED-6B76-408B-8C7D-E4F7D3210715}" destId="{94DCCB71-98EA-41BE-B9BB-A1DDC7388C45}" srcOrd="0" destOrd="0" presId="urn:microsoft.com/office/officeart/2008/layout/HorizontalMultiLevelHierarchy"/>
    <dgm:cxn modelId="{AA861C54-8D7C-421E-9F00-41CB8EB6B970}" type="presParOf" srcId="{0305F1B8-6157-4492-8F35-FDFD69C0CB0B}" destId="{03B9DBA7-EED0-4DA6-B964-7AA641F43FF2}" srcOrd="1" destOrd="0" presId="urn:microsoft.com/office/officeart/2008/layout/HorizontalMultiLevelHierarchy"/>
    <dgm:cxn modelId="{B2963D25-D8C3-48D0-8F18-FCCB15AF37FC}" type="presParOf" srcId="{03B9DBA7-EED0-4DA6-B964-7AA641F43FF2}" destId="{45D12000-0D68-43D8-886A-19583409DA1E}" srcOrd="0" destOrd="0" presId="urn:microsoft.com/office/officeart/2008/layout/HorizontalMultiLevelHierarchy"/>
    <dgm:cxn modelId="{4B43A808-D379-4414-95B4-FEDF5F9EEB5E}" type="presParOf" srcId="{03B9DBA7-EED0-4DA6-B964-7AA641F43FF2}" destId="{D2B1C60F-214E-4FBA-B227-BC6B38490A8F}" srcOrd="1" destOrd="0" presId="urn:microsoft.com/office/officeart/2008/layout/HorizontalMultiLevelHierarchy"/>
    <dgm:cxn modelId="{38B8A2F8-084E-4114-A990-E9F5082F4FD9}" type="presParOf" srcId="{0305F1B8-6157-4492-8F35-FDFD69C0CB0B}" destId="{F3CDD584-C9D8-41B7-8A20-2F9B6C70A375}" srcOrd="2" destOrd="0" presId="urn:microsoft.com/office/officeart/2008/layout/HorizontalMultiLevelHierarchy"/>
    <dgm:cxn modelId="{92F31884-4C9B-4865-A948-1386B4C606A3}" type="presParOf" srcId="{F3CDD584-C9D8-41B7-8A20-2F9B6C70A375}" destId="{5E3E6EA1-B492-4360-96E7-86D1699A0B54}" srcOrd="0" destOrd="0" presId="urn:microsoft.com/office/officeart/2008/layout/HorizontalMultiLevelHierarchy"/>
    <dgm:cxn modelId="{46816494-B564-45C1-8A90-A0638A6233E1}" type="presParOf" srcId="{0305F1B8-6157-4492-8F35-FDFD69C0CB0B}" destId="{52DFC26E-1265-4CFC-852A-B40F8B58488C}" srcOrd="3" destOrd="0" presId="urn:microsoft.com/office/officeart/2008/layout/HorizontalMultiLevelHierarchy"/>
    <dgm:cxn modelId="{DF0EE5F1-2822-4C37-92FC-68609562E149}" type="presParOf" srcId="{52DFC26E-1265-4CFC-852A-B40F8B58488C}" destId="{BA12036D-BB0D-4707-BA86-554565E0C513}" srcOrd="0" destOrd="0" presId="urn:microsoft.com/office/officeart/2008/layout/HorizontalMultiLevelHierarchy"/>
    <dgm:cxn modelId="{726A9235-2F7F-460D-8CBA-33E846B27C6D}" type="presParOf" srcId="{52DFC26E-1265-4CFC-852A-B40F8B58488C}" destId="{0794F85C-A7F0-4819-AEE7-66F507F4B607}" srcOrd="1" destOrd="0" presId="urn:microsoft.com/office/officeart/2008/layout/HorizontalMultiLevelHierarchy"/>
    <dgm:cxn modelId="{38BCBAF9-EAE4-4AE8-961F-38238B7429EF}" type="presParOf" srcId="{0305F1B8-6157-4492-8F35-FDFD69C0CB0B}" destId="{842F16EE-477F-4CD9-B580-0C7E21392724}" srcOrd="4" destOrd="0" presId="urn:microsoft.com/office/officeart/2008/layout/HorizontalMultiLevelHierarchy"/>
    <dgm:cxn modelId="{335B21CB-0274-408A-A121-4A10CFE960A9}" type="presParOf" srcId="{842F16EE-477F-4CD9-B580-0C7E21392724}" destId="{4D69D911-9D5C-45B7-BC28-853FFB635752}" srcOrd="0" destOrd="0" presId="urn:microsoft.com/office/officeart/2008/layout/HorizontalMultiLevelHierarchy"/>
    <dgm:cxn modelId="{EBC9809A-B7E9-423A-BF70-30E44B4E28ED}" type="presParOf" srcId="{0305F1B8-6157-4492-8F35-FDFD69C0CB0B}" destId="{5EF3A40E-5493-461F-96E7-6D8568995247}" srcOrd="5" destOrd="0" presId="urn:microsoft.com/office/officeart/2008/layout/HorizontalMultiLevelHierarchy"/>
    <dgm:cxn modelId="{471D87C8-EB8F-4CCD-B408-10D52E7B28DA}" type="presParOf" srcId="{5EF3A40E-5493-461F-96E7-6D8568995247}" destId="{73BF00F7-DAFD-4C28-B447-5BB9C3DD17B3}" srcOrd="0" destOrd="0" presId="urn:microsoft.com/office/officeart/2008/layout/HorizontalMultiLevelHierarchy"/>
    <dgm:cxn modelId="{56F60454-803D-48E1-9951-21EF87F90621}" type="presParOf" srcId="{5EF3A40E-5493-461F-96E7-6D8568995247}" destId="{AFAC1DEE-61A5-41C1-94F0-C5ADF4A77E35}" srcOrd="1" destOrd="0" presId="urn:microsoft.com/office/officeart/2008/layout/HorizontalMultiLevelHierarchy"/>
  </dgm:cxnLst>
  <dgm:bg/>
  <dgm:whole/>
  <dgm:extLst>
    <a:ext uri="http://schemas.microsoft.com/office/drawing/2008/diagram">
      <dsp:dataModelExt xmlns:dsp="http://schemas.microsoft.com/office/drawing/2008/diagram" relId="rId10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C6A280BC-6AD2-4FA8-B9A9-EC56DD138FED}" type="doc">
      <dgm:prSet loTypeId="urn:microsoft.com/office/officeart/2005/8/layout/process4" loCatId="list" qsTypeId="urn:microsoft.com/office/officeart/2005/8/quickstyle/simple1" qsCatId="simple" csTypeId="urn:microsoft.com/office/officeart/2005/8/colors/accent2_2" csCatId="accent2" phldr="1"/>
      <dgm:spPr/>
      <dgm:t>
        <a:bodyPr/>
        <a:lstStyle/>
        <a:p>
          <a:endParaRPr lang="en-US"/>
        </a:p>
      </dgm:t>
    </dgm:pt>
    <dgm:pt modelId="{60575074-B11B-4F1F-87D7-D9EDCAB22927}">
      <dgm:prSet phldrT="[Text]"/>
      <dgm:spPr/>
      <dgm:t>
        <a:bodyPr/>
        <a:lstStyle/>
        <a:p>
          <a:r>
            <a:rPr lang="en-US" dirty="0" smtClean="0"/>
            <a:t>Personal Accounts</a:t>
          </a:r>
          <a:endParaRPr lang="en-US" dirty="0"/>
        </a:p>
      </dgm:t>
    </dgm:pt>
    <dgm:pt modelId="{C1F22DCF-B9A4-4042-9B55-340802DE4961}" type="parTrans" cxnId="{CE77100F-631F-4AA4-B680-4777441F58DC}">
      <dgm:prSet/>
      <dgm:spPr/>
      <dgm:t>
        <a:bodyPr/>
        <a:lstStyle/>
        <a:p>
          <a:endParaRPr lang="en-US"/>
        </a:p>
      </dgm:t>
    </dgm:pt>
    <dgm:pt modelId="{946BB157-99CA-494D-B751-AABF46F5E82B}" type="sibTrans" cxnId="{CE77100F-631F-4AA4-B680-4777441F58DC}">
      <dgm:prSet/>
      <dgm:spPr/>
      <dgm:t>
        <a:bodyPr/>
        <a:lstStyle/>
        <a:p>
          <a:endParaRPr lang="en-US"/>
        </a:p>
      </dgm:t>
    </dgm:pt>
    <dgm:pt modelId="{D379BAB1-794F-4169-A6EC-7C43B930112F}">
      <dgm:prSet phldrT="[Text]"/>
      <dgm:spPr/>
      <dgm:t>
        <a:bodyPr/>
        <a:lstStyle/>
        <a:p>
          <a:r>
            <a:rPr lang="en-US" dirty="0" smtClean="0"/>
            <a:t>Debit the Receiver</a:t>
          </a:r>
          <a:endParaRPr lang="en-US" dirty="0"/>
        </a:p>
      </dgm:t>
    </dgm:pt>
    <dgm:pt modelId="{C3D5BA14-445A-4915-B48D-FA51A3609735}" type="parTrans" cxnId="{5EF139E1-47F3-44D2-A2AA-B8182540AF80}">
      <dgm:prSet/>
      <dgm:spPr/>
      <dgm:t>
        <a:bodyPr/>
        <a:lstStyle/>
        <a:p>
          <a:endParaRPr lang="en-US"/>
        </a:p>
      </dgm:t>
    </dgm:pt>
    <dgm:pt modelId="{C6DF6DCF-DA2E-446B-ABB8-398DB639A684}" type="sibTrans" cxnId="{5EF139E1-47F3-44D2-A2AA-B8182540AF80}">
      <dgm:prSet/>
      <dgm:spPr/>
      <dgm:t>
        <a:bodyPr/>
        <a:lstStyle/>
        <a:p>
          <a:endParaRPr lang="en-US"/>
        </a:p>
      </dgm:t>
    </dgm:pt>
    <dgm:pt modelId="{516F33DC-89B2-4469-B37C-0D32581C55CA}">
      <dgm:prSet phldrT="[Text]"/>
      <dgm:spPr/>
      <dgm:t>
        <a:bodyPr/>
        <a:lstStyle/>
        <a:p>
          <a:r>
            <a:rPr lang="en-US" dirty="0" smtClean="0"/>
            <a:t>Credit the Giver</a:t>
          </a:r>
          <a:endParaRPr lang="en-US" dirty="0"/>
        </a:p>
      </dgm:t>
    </dgm:pt>
    <dgm:pt modelId="{B904370F-EBBD-4231-8089-08ACA39D528C}" type="parTrans" cxnId="{0033A5E8-CFCB-4F1D-A28D-5163124F9780}">
      <dgm:prSet/>
      <dgm:spPr/>
      <dgm:t>
        <a:bodyPr/>
        <a:lstStyle/>
        <a:p>
          <a:endParaRPr lang="en-US"/>
        </a:p>
      </dgm:t>
    </dgm:pt>
    <dgm:pt modelId="{C3ABDA6E-3C1B-480F-BCA8-276FE9E96640}" type="sibTrans" cxnId="{0033A5E8-CFCB-4F1D-A28D-5163124F9780}">
      <dgm:prSet/>
      <dgm:spPr/>
      <dgm:t>
        <a:bodyPr/>
        <a:lstStyle/>
        <a:p>
          <a:endParaRPr lang="en-US"/>
        </a:p>
      </dgm:t>
    </dgm:pt>
    <dgm:pt modelId="{9F1BBC4A-786C-465B-B6D5-5C6C6E674840}">
      <dgm:prSet phldrT="[Text]"/>
      <dgm:spPr/>
      <dgm:t>
        <a:bodyPr/>
        <a:lstStyle/>
        <a:p>
          <a:r>
            <a:rPr lang="en-US" dirty="0" smtClean="0"/>
            <a:t>Real Accounts</a:t>
          </a:r>
          <a:endParaRPr lang="en-US" dirty="0"/>
        </a:p>
      </dgm:t>
    </dgm:pt>
    <dgm:pt modelId="{2F7A05C6-E197-4BBB-BD0D-0C4B95841086}" type="parTrans" cxnId="{F0BF9209-1FBB-4DAE-BFAA-AD766A4D3F06}">
      <dgm:prSet/>
      <dgm:spPr/>
      <dgm:t>
        <a:bodyPr/>
        <a:lstStyle/>
        <a:p>
          <a:endParaRPr lang="en-US"/>
        </a:p>
      </dgm:t>
    </dgm:pt>
    <dgm:pt modelId="{8104CE3F-9193-4B62-8B2E-AE3EA76DAAE6}" type="sibTrans" cxnId="{F0BF9209-1FBB-4DAE-BFAA-AD766A4D3F06}">
      <dgm:prSet/>
      <dgm:spPr/>
      <dgm:t>
        <a:bodyPr/>
        <a:lstStyle/>
        <a:p>
          <a:endParaRPr lang="en-US"/>
        </a:p>
      </dgm:t>
    </dgm:pt>
    <dgm:pt modelId="{453D43D9-C295-4857-92E9-9E2DC6ACE255}">
      <dgm:prSet phldrT="[Text]"/>
      <dgm:spPr/>
      <dgm:t>
        <a:bodyPr/>
        <a:lstStyle/>
        <a:p>
          <a:r>
            <a:rPr lang="en-US" dirty="0" smtClean="0"/>
            <a:t>Debit what Comes in</a:t>
          </a:r>
          <a:endParaRPr lang="en-US" dirty="0"/>
        </a:p>
      </dgm:t>
    </dgm:pt>
    <dgm:pt modelId="{40B51D36-AA4D-4643-9AF2-0B4A82EB030D}" type="parTrans" cxnId="{6381DADA-E6A4-49B9-8385-B29C4F916FFE}">
      <dgm:prSet/>
      <dgm:spPr/>
      <dgm:t>
        <a:bodyPr/>
        <a:lstStyle/>
        <a:p>
          <a:endParaRPr lang="en-US"/>
        </a:p>
      </dgm:t>
    </dgm:pt>
    <dgm:pt modelId="{21C6C1EA-D9E9-497F-ACE0-3A04360D83F3}" type="sibTrans" cxnId="{6381DADA-E6A4-49B9-8385-B29C4F916FFE}">
      <dgm:prSet/>
      <dgm:spPr/>
      <dgm:t>
        <a:bodyPr/>
        <a:lstStyle/>
        <a:p>
          <a:endParaRPr lang="en-US"/>
        </a:p>
      </dgm:t>
    </dgm:pt>
    <dgm:pt modelId="{70206636-14AD-4BBA-83AE-666E5807E038}">
      <dgm:prSet phldrT="[Text]"/>
      <dgm:spPr/>
      <dgm:t>
        <a:bodyPr/>
        <a:lstStyle/>
        <a:p>
          <a:r>
            <a:rPr lang="en-US" dirty="0" smtClean="0"/>
            <a:t>Credit what Goes out</a:t>
          </a:r>
          <a:endParaRPr lang="en-US" dirty="0"/>
        </a:p>
      </dgm:t>
    </dgm:pt>
    <dgm:pt modelId="{82AB787F-A2F4-4C87-A66D-D225EAA4B6BC}" type="parTrans" cxnId="{73B234BB-1E08-485F-837B-A800522CDE21}">
      <dgm:prSet/>
      <dgm:spPr/>
      <dgm:t>
        <a:bodyPr/>
        <a:lstStyle/>
        <a:p>
          <a:endParaRPr lang="en-US"/>
        </a:p>
      </dgm:t>
    </dgm:pt>
    <dgm:pt modelId="{378F86BF-9F2C-4360-AF38-ABDE601FA64B}" type="sibTrans" cxnId="{73B234BB-1E08-485F-837B-A800522CDE21}">
      <dgm:prSet/>
      <dgm:spPr/>
      <dgm:t>
        <a:bodyPr/>
        <a:lstStyle/>
        <a:p>
          <a:endParaRPr lang="en-US"/>
        </a:p>
      </dgm:t>
    </dgm:pt>
    <dgm:pt modelId="{843A9A91-6F1A-456E-8C28-209DF00810FC}">
      <dgm:prSet phldrT="[Text]"/>
      <dgm:spPr/>
      <dgm:t>
        <a:bodyPr/>
        <a:lstStyle/>
        <a:p>
          <a:r>
            <a:rPr lang="en-US" dirty="0" smtClean="0"/>
            <a:t>Nominal Accounts</a:t>
          </a:r>
          <a:endParaRPr lang="en-US" dirty="0"/>
        </a:p>
      </dgm:t>
    </dgm:pt>
    <dgm:pt modelId="{4357A6DC-5B3B-45E8-BF70-513E46B46D59}" type="parTrans" cxnId="{CD7622EC-CABD-414E-A983-5C0779E39ED2}">
      <dgm:prSet/>
      <dgm:spPr/>
      <dgm:t>
        <a:bodyPr/>
        <a:lstStyle/>
        <a:p>
          <a:endParaRPr lang="en-US"/>
        </a:p>
      </dgm:t>
    </dgm:pt>
    <dgm:pt modelId="{6565C5FF-03A3-4470-92DC-75111662E710}" type="sibTrans" cxnId="{CD7622EC-CABD-414E-A983-5C0779E39ED2}">
      <dgm:prSet/>
      <dgm:spPr/>
      <dgm:t>
        <a:bodyPr/>
        <a:lstStyle/>
        <a:p>
          <a:endParaRPr lang="en-US"/>
        </a:p>
      </dgm:t>
    </dgm:pt>
    <dgm:pt modelId="{CCC4EACF-6E67-496F-B2DF-B984587E6A8B}">
      <dgm:prSet phldrT="[Text]"/>
      <dgm:spPr/>
      <dgm:t>
        <a:bodyPr/>
        <a:lstStyle/>
        <a:p>
          <a:r>
            <a:rPr lang="en-US" dirty="0" smtClean="0"/>
            <a:t>Debit Expenses &amp; Losses</a:t>
          </a:r>
          <a:endParaRPr lang="en-US" dirty="0"/>
        </a:p>
      </dgm:t>
    </dgm:pt>
    <dgm:pt modelId="{CE24220F-7A78-44F7-A732-9AA5D3FF3C33}" type="parTrans" cxnId="{F46DD89D-1BA3-42E2-ADB4-00A473FEFCE1}">
      <dgm:prSet/>
      <dgm:spPr/>
      <dgm:t>
        <a:bodyPr/>
        <a:lstStyle/>
        <a:p>
          <a:endParaRPr lang="en-US"/>
        </a:p>
      </dgm:t>
    </dgm:pt>
    <dgm:pt modelId="{6763A7EE-1753-4A9B-B4AF-516EB507E1DC}" type="sibTrans" cxnId="{F46DD89D-1BA3-42E2-ADB4-00A473FEFCE1}">
      <dgm:prSet/>
      <dgm:spPr/>
      <dgm:t>
        <a:bodyPr/>
        <a:lstStyle/>
        <a:p>
          <a:endParaRPr lang="en-US"/>
        </a:p>
      </dgm:t>
    </dgm:pt>
    <dgm:pt modelId="{AD5D0E95-B602-4C4A-8A8E-DEFAC6DE5268}">
      <dgm:prSet phldrT="[Text]"/>
      <dgm:spPr/>
      <dgm:t>
        <a:bodyPr/>
        <a:lstStyle/>
        <a:p>
          <a:r>
            <a:rPr lang="en-US" dirty="0" smtClean="0"/>
            <a:t>Credit Incomes &amp; Gains</a:t>
          </a:r>
          <a:endParaRPr lang="en-US" dirty="0"/>
        </a:p>
      </dgm:t>
    </dgm:pt>
    <dgm:pt modelId="{DB0C7873-9554-4E6A-9702-2CB1FBFA7DAA}" type="parTrans" cxnId="{F353097E-9395-4FFD-AF47-B7EB692440B6}">
      <dgm:prSet/>
      <dgm:spPr/>
      <dgm:t>
        <a:bodyPr/>
        <a:lstStyle/>
        <a:p>
          <a:endParaRPr lang="en-US"/>
        </a:p>
      </dgm:t>
    </dgm:pt>
    <dgm:pt modelId="{1BDBF913-018F-4BD1-AD8E-184533ADCC4F}" type="sibTrans" cxnId="{F353097E-9395-4FFD-AF47-B7EB692440B6}">
      <dgm:prSet/>
      <dgm:spPr/>
      <dgm:t>
        <a:bodyPr/>
        <a:lstStyle/>
        <a:p>
          <a:endParaRPr lang="en-US"/>
        </a:p>
      </dgm:t>
    </dgm:pt>
    <dgm:pt modelId="{FB0A099A-48E8-4803-AC1F-DEB1AA0483A0}" type="pres">
      <dgm:prSet presAssocID="{C6A280BC-6AD2-4FA8-B9A9-EC56DD138FED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ED70BB5D-6BC8-4467-B1CE-5A56267AB625}" type="pres">
      <dgm:prSet presAssocID="{843A9A91-6F1A-456E-8C28-209DF00810FC}" presName="boxAndChildren" presStyleCnt="0"/>
      <dgm:spPr/>
    </dgm:pt>
    <dgm:pt modelId="{F3A0F64E-96FB-4A9E-BC3F-6B3A2B16788B}" type="pres">
      <dgm:prSet presAssocID="{843A9A91-6F1A-456E-8C28-209DF00810FC}" presName="parentTextBox" presStyleLbl="node1" presStyleIdx="0" presStyleCnt="3"/>
      <dgm:spPr/>
      <dgm:t>
        <a:bodyPr/>
        <a:lstStyle/>
        <a:p>
          <a:endParaRPr lang="en-US"/>
        </a:p>
      </dgm:t>
    </dgm:pt>
    <dgm:pt modelId="{22FDCEAB-84B2-43E8-9F7E-B25FA99BEFD6}" type="pres">
      <dgm:prSet presAssocID="{843A9A91-6F1A-456E-8C28-209DF00810FC}" presName="entireBox" presStyleLbl="node1" presStyleIdx="0" presStyleCnt="3"/>
      <dgm:spPr/>
      <dgm:t>
        <a:bodyPr/>
        <a:lstStyle/>
        <a:p>
          <a:endParaRPr lang="en-US"/>
        </a:p>
      </dgm:t>
    </dgm:pt>
    <dgm:pt modelId="{0E3BBF8E-8509-413B-87A3-426AD873ADAA}" type="pres">
      <dgm:prSet presAssocID="{843A9A91-6F1A-456E-8C28-209DF00810FC}" presName="descendantBox" presStyleCnt="0"/>
      <dgm:spPr/>
    </dgm:pt>
    <dgm:pt modelId="{B09EA6D1-D6FF-4166-B7E6-1D5211B95AC3}" type="pres">
      <dgm:prSet presAssocID="{CCC4EACF-6E67-496F-B2DF-B984587E6A8B}" presName="childTextBox" presStyleLbl="fgAccFollowNode1" presStyleIdx="0" presStyleCnt="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29AA02F1-13A0-474F-9FC7-FB0B1ACB9888}" type="pres">
      <dgm:prSet presAssocID="{AD5D0E95-B602-4C4A-8A8E-DEFAC6DE5268}" presName="childTextBox" presStyleLbl="fgAccFollowNode1" presStyleIdx="1" presStyleCnt="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37B0DB11-63D5-4C33-8D8A-E9D95A21BED7}" type="pres">
      <dgm:prSet presAssocID="{8104CE3F-9193-4B62-8B2E-AE3EA76DAAE6}" presName="sp" presStyleCnt="0"/>
      <dgm:spPr/>
    </dgm:pt>
    <dgm:pt modelId="{9DE6AA2D-1465-42E6-9DA0-A8DC34CB325E}" type="pres">
      <dgm:prSet presAssocID="{9F1BBC4A-786C-465B-B6D5-5C6C6E674840}" presName="arrowAndChildren" presStyleCnt="0"/>
      <dgm:spPr/>
    </dgm:pt>
    <dgm:pt modelId="{E03B73E2-0595-4F09-84FE-DED7C65212B0}" type="pres">
      <dgm:prSet presAssocID="{9F1BBC4A-786C-465B-B6D5-5C6C6E674840}" presName="parentTextArrow" presStyleLbl="node1" presStyleIdx="0" presStyleCnt="3"/>
      <dgm:spPr/>
      <dgm:t>
        <a:bodyPr/>
        <a:lstStyle/>
        <a:p>
          <a:endParaRPr lang="en-US"/>
        </a:p>
      </dgm:t>
    </dgm:pt>
    <dgm:pt modelId="{9CD667F4-DFEC-41F9-AFD5-00CFAFFB94DE}" type="pres">
      <dgm:prSet presAssocID="{9F1BBC4A-786C-465B-B6D5-5C6C6E674840}" presName="arrow" presStyleLbl="node1" presStyleIdx="1" presStyleCnt="3"/>
      <dgm:spPr/>
      <dgm:t>
        <a:bodyPr/>
        <a:lstStyle/>
        <a:p>
          <a:endParaRPr lang="en-US"/>
        </a:p>
      </dgm:t>
    </dgm:pt>
    <dgm:pt modelId="{B6A317C6-DC45-4B53-AF67-BA3A6E3382C0}" type="pres">
      <dgm:prSet presAssocID="{9F1BBC4A-786C-465B-B6D5-5C6C6E674840}" presName="descendantArrow" presStyleCnt="0"/>
      <dgm:spPr/>
    </dgm:pt>
    <dgm:pt modelId="{CD4F4086-DD7A-40C7-B718-280986123BAC}" type="pres">
      <dgm:prSet presAssocID="{453D43D9-C295-4857-92E9-9E2DC6ACE255}" presName="childTextArrow" presStyleLbl="fgAccFollowNode1" presStyleIdx="2" presStyleCnt="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6CE5069D-A416-47A1-A2FF-E8A1D537A325}" type="pres">
      <dgm:prSet presAssocID="{70206636-14AD-4BBA-83AE-666E5807E038}" presName="childTextArrow" presStyleLbl="fgAccFollowNode1" presStyleIdx="3" presStyleCnt="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005E7217-A856-4770-901D-5137BBC3C5FC}" type="pres">
      <dgm:prSet presAssocID="{946BB157-99CA-494D-B751-AABF46F5E82B}" presName="sp" presStyleCnt="0"/>
      <dgm:spPr/>
    </dgm:pt>
    <dgm:pt modelId="{F63A41A9-8247-4309-9594-1F3BEFC8E78D}" type="pres">
      <dgm:prSet presAssocID="{60575074-B11B-4F1F-87D7-D9EDCAB22927}" presName="arrowAndChildren" presStyleCnt="0"/>
      <dgm:spPr/>
    </dgm:pt>
    <dgm:pt modelId="{0D429F41-FD16-4002-AE8A-EE5DC17D12AE}" type="pres">
      <dgm:prSet presAssocID="{60575074-B11B-4F1F-87D7-D9EDCAB22927}" presName="parentTextArrow" presStyleLbl="node1" presStyleIdx="1" presStyleCnt="3"/>
      <dgm:spPr/>
      <dgm:t>
        <a:bodyPr/>
        <a:lstStyle/>
        <a:p>
          <a:endParaRPr lang="en-US"/>
        </a:p>
      </dgm:t>
    </dgm:pt>
    <dgm:pt modelId="{18DFF90D-FB10-4996-B940-295B8E9416AC}" type="pres">
      <dgm:prSet presAssocID="{60575074-B11B-4F1F-87D7-D9EDCAB22927}" presName="arrow" presStyleLbl="node1" presStyleIdx="2" presStyleCnt="3"/>
      <dgm:spPr/>
      <dgm:t>
        <a:bodyPr/>
        <a:lstStyle/>
        <a:p>
          <a:endParaRPr lang="en-US"/>
        </a:p>
      </dgm:t>
    </dgm:pt>
    <dgm:pt modelId="{AAF7213E-49BE-4D08-9180-9AA0A308E041}" type="pres">
      <dgm:prSet presAssocID="{60575074-B11B-4F1F-87D7-D9EDCAB22927}" presName="descendantArrow" presStyleCnt="0"/>
      <dgm:spPr/>
    </dgm:pt>
    <dgm:pt modelId="{03327B26-E75D-4DBD-9478-5B2172C871FB}" type="pres">
      <dgm:prSet presAssocID="{D379BAB1-794F-4169-A6EC-7C43B930112F}" presName="childTextArrow" presStyleLbl="fgAccFollowNode1" presStyleIdx="4" presStyleCnt="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0C2DDBAA-A669-4C52-B2D5-3A304D8AB48D}" type="pres">
      <dgm:prSet presAssocID="{516F33DC-89B2-4469-B37C-0D32581C55CA}" presName="childTextArrow" presStyleLbl="fgAccFollowNode1" presStyleIdx="5" presStyleCnt="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42F7871A-0141-407B-A9B2-356F28C0CE2D}" type="presOf" srcId="{70206636-14AD-4BBA-83AE-666E5807E038}" destId="{6CE5069D-A416-47A1-A2FF-E8A1D537A325}" srcOrd="0" destOrd="0" presId="urn:microsoft.com/office/officeart/2005/8/layout/process4"/>
    <dgm:cxn modelId="{F353097E-9395-4FFD-AF47-B7EB692440B6}" srcId="{843A9A91-6F1A-456E-8C28-209DF00810FC}" destId="{AD5D0E95-B602-4C4A-8A8E-DEFAC6DE5268}" srcOrd="1" destOrd="0" parTransId="{DB0C7873-9554-4E6A-9702-2CB1FBFA7DAA}" sibTransId="{1BDBF913-018F-4BD1-AD8E-184533ADCC4F}"/>
    <dgm:cxn modelId="{EA93B941-588D-41A1-B974-C2A64EE5EA59}" type="presOf" srcId="{D379BAB1-794F-4169-A6EC-7C43B930112F}" destId="{03327B26-E75D-4DBD-9478-5B2172C871FB}" srcOrd="0" destOrd="0" presId="urn:microsoft.com/office/officeart/2005/8/layout/process4"/>
    <dgm:cxn modelId="{73B234BB-1E08-485F-837B-A800522CDE21}" srcId="{9F1BBC4A-786C-465B-B6D5-5C6C6E674840}" destId="{70206636-14AD-4BBA-83AE-666E5807E038}" srcOrd="1" destOrd="0" parTransId="{82AB787F-A2F4-4C87-A66D-D225EAA4B6BC}" sibTransId="{378F86BF-9F2C-4360-AF38-ABDE601FA64B}"/>
    <dgm:cxn modelId="{F23C1269-88B1-4CEB-BF98-D0CD41D31090}" type="presOf" srcId="{C6A280BC-6AD2-4FA8-B9A9-EC56DD138FED}" destId="{FB0A099A-48E8-4803-AC1F-DEB1AA0483A0}" srcOrd="0" destOrd="0" presId="urn:microsoft.com/office/officeart/2005/8/layout/process4"/>
    <dgm:cxn modelId="{A630C2F3-BBD2-4691-ABA2-EFBE1098FE06}" type="presOf" srcId="{843A9A91-6F1A-456E-8C28-209DF00810FC}" destId="{F3A0F64E-96FB-4A9E-BC3F-6B3A2B16788B}" srcOrd="0" destOrd="0" presId="urn:microsoft.com/office/officeart/2005/8/layout/process4"/>
    <dgm:cxn modelId="{7877F3D0-EBC2-4295-A3CB-BFD7678B18A4}" type="presOf" srcId="{516F33DC-89B2-4469-B37C-0D32581C55CA}" destId="{0C2DDBAA-A669-4C52-B2D5-3A304D8AB48D}" srcOrd="0" destOrd="0" presId="urn:microsoft.com/office/officeart/2005/8/layout/process4"/>
    <dgm:cxn modelId="{9E066B87-93F6-4DA9-AD1E-F79FC9417BAD}" type="presOf" srcId="{9F1BBC4A-786C-465B-B6D5-5C6C6E674840}" destId="{E03B73E2-0595-4F09-84FE-DED7C65212B0}" srcOrd="0" destOrd="0" presId="urn:microsoft.com/office/officeart/2005/8/layout/process4"/>
    <dgm:cxn modelId="{CE77100F-631F-4AA4-B680-4777441F58DC}" srcId="{C6A280BC-6AD2-4FA8-B9A9-EC56DD138FED}" destId="{60575074-B11B-4F1F-87D7-D9EDCAB22927}" srcOrd="0" destOrd="0" parTransId="{C1F22DCF-B9A4-4042-9B55-340802DE4961}" sibTransId="{946BB157-99CA-494D-B751-AABF46F5E82B}"/>
    <dgm:cxn modelId="{F46DD89D-1BA3-42E2-ADB4-00A473FEFCE1}" srcId="{843A9A91-6F1A-456E-8C28-209DF00810FC}" destId="{CCC4EACF-6E67-496F-B2DF-B984587E6A8B}" srcOrd="0" destOrd="0" parTransId="{CE24220F-7A78-44F7-A732-9AA5D3FF3C33}" sibTransId="{6763A7EE-1753-4A9B-B4AF-516EB507E1DC}"/>
    <dgm:cxn modelId="{07E56789-CFD0-4015-8A1A-5FF9B2C20C35}" type="presOf" srcId="{453D43D9-C295-4857-92E9-9E2DC6ACE255}" destId="{CD4F4086-DD7A-40C7-B718-280986123BAC}" srcOrd="0" destOrd="0" presId="urn:microsoft.com/office/officeart/2005/8/layout/process4"/>
    <dgm:cxn modelId="{0033A5E8-CFCB-4F1D-A28D-5163124F9780}" srcId="{60575074-B11B-4F1F-87D7-D9EDCAB22927}" destId="{516F33DC-89B2-4469-B37C-0D32581C55CA}" srcOrd="1" destOrd="0" parTransId="{B904370F-EBBD-4231-8089-08ACA39D528C}" sibTransId="{C3ABDA6E-3C1B-480F-BCA8-276FE9E96640}"/>
    <dgm:cxn modelId="{6381DADA-E6A4-49B9-8385-B29C4F916FFE}" srcId="{9F1BBC4A-786C-465B-B6D5-5C6C6E674840}" destId="{453D43D9-C295-4857-92E9-9E2DC6ACE255}" srcOrd="0" destOrd="0" parTransId="{40B51D36-AA4D-4643-9AF2-0B4A82EB030D}" sibTransId="{21C6C1EA-D9E9-497F-ACE0-3A04360D83F3}"/>
    <dgm:cxn modelId="{5EF139E1-47F3-44D2-A2AA-B8182540AF80}" srcId="{60575074-B11B-4F1F-87D7-D9EDCAB22927}" destId="{D379BAB1-794F-4169-A6EC-7C43B930112F}" srcOrd="0" destOrd="0" parTransId="{C3D5BA14-445A-4915-B48D-FA51A3609735}" sibTransId="{C6DF6DCF-DA2E-446B-ABB8-398DB639A684}"/>
    <dgm:cxn modelId="{F0BF9209-1FBB-4DAE-BFAA-AD766A4D3F06}" srcId="{C6A280BC-6AD2-4FA8-B9A9-EC56DD138FED}" destId="{9F1BBC4A-786C-465B-B6D5-5C6C6E674840}" srcOrd="1" destOrd="0" parTransId="{2F7A05C6-E197-4BBB-BD0D-0C4B95841086}" sibTransId="{8104CE3F-9193-4B62-8B2E-AE3EA76DAAE6}"/>
    <dgm:cxn modelId="{F36F9F23-1AF5-4028-A1D5-53D510B1710F}" type="presOf" srcId="{843A9A91-6F1A-456E-8C28-209DF00810FC}" destId="{22FDCEAB-84B2-43E8-9F7E-B25FA99BEFD6}" srcOrd="1" destOrd="0" presId="urn:microsoft.com/office/officeart/2005/8/layout/process4"/>
    <dgm:cxn modelId="{01CDC2A1-B6B9-46B4-A7C7-BCB2E286B6EE}" type="presOf" srcId="{AD5D0E95-B602-4C4A-8A8E-DEFAC6DE5268}" destId="{29AA02F1-13A0-474F-9FC7-FB0B1ACB9888}" srcOrd="0" destOrd="0" presId="urn:microsoft.com/office/officeart/2005/8/layout/process4"/>
    <dgm:cxn modelId="{748310F8-CE55-40A7-8563-225032C153A2}" type="presOf" srcId="{60575074-B11B-4F1F-87D7-D9EDCAB22927}" destId="{18DFF90D-FB10-4996-B940-295B8E9416AC}" srcOrd="1" destOrd="0" presId="urn:microsoft.com/office/officeart/2005/8/layout/process4"/>
    <dgm:cxn modelId="{BDE6EC91-D694-400B-B52C-BD3FE7DA2850}" type="presOf" srcId="{9F1BBC4A-786C-465B-B6D5-5C6C6E674840}" destId="{9CD667F4-DFEC-41F9-AFD5-00CFAFFB94DE}" srcOrd="1" destOrd="0" presId="urn:microsoft.com/office/officeart/2005/8/layout/process4"/>
    <dgm:cxn modelId="{CD7622EC-CABD-414E-A983-5C0779E39ED2}" srcId="{C6A280BC-6AD2-4FA8-B9A9-EC56DD138FED}" destId="{843A9A91-6F1A-456E-8C28-209DF00810FC}" srcOrd="2" destOrd="0" parTransId="{4357A6DC-5B3B-45E8-BF70-513E46B46D59}" sibTransId="{6565C5FF-03A3-4470-92DC-75111662E710}"/>
    <dgm:cxn modelId="{8017F8D6-C6B6-4363-844F-BCB476687853}" type="presOf" srcId="{60575074-B11B-4F1F-87D7-D9EDCAB22927}" destId="{0D429F41-FD16-4002-AE8A-EE5DC17D12AE}" srcOrd="0" destOrd="0" presId="urn:microsoft.com/office/officeart/2005/8/layout/process4"/>
    <dgm:cxn modelId="{7FFBF4EC-1E81-4037-BD4E-0590D6853098}" type="presOf" srcId="{CCC4EACF-6E67-496F-B2DF-B984587E6A8B}" destId="{B09EA6D1-D6FF-4166-B7E6-1D5211B95AC3}" srcOrd="0" destOrd="0" presId="urn:microsoft.com/office/officeart/2005/8/layout/process4"/>
    <dgm:cxn modelId="{1363A0DF-7512-42B3-A1E9-55F3BD6059BB}" type="presParOf" srcId="{FB0A099A-48E8-4803-AC1F-DEB1AA0483A0}" destId="{ED70BB5D-6BC8-4467-B1CE-5A56267AB625}" srcOrd="0" destOrd="0" presId="urn:microsoft.com/office/officeart/2005/8/layout/process4"/>
    <dgm:cxn modelId="{73703054-FC2F-4E8B-9417-AF254A5CB670}" type="presParOf" srcId="{ED70BB5D-6BC8-4467-B1CE-5A56267AB625}" destId="{F3A0F64E-96FB-4A9E-BC3F-6B3A2B16788B}" srcOrd="0" destOrd="0" presId="urn:microsoft.com/office/officeart/2005/8/layout/process4"/>
    <dgm:cxn modelId="{2B2431B3-CD05-4277-9110-7B291072D260}" type="presParOf" srcId="{ED70BB5D-6BC8-4467-B1CE-5A56267AB625}" destId="{22FDCEAB-84B2-43E8-9F7E-B25FA99BEFD6}" srcOrd="1" destOrd="0" presId="urn:microsoft.com/office/officeart/2005/8/layout/process4"/>
    <dgm:cxn modelId="{67F3E5EC-0694-4EE5-9D5C-43F2DDDDDF62}" type="presParOf" srcId="{ED70BB5D-6BC8-4467-B1CE-5A56267AB625}" destId="{0E3BBF8E-8509-413B-87A3-426AD873ADAA}" srcOrd="2" destOrd="0" presId="urn:microsoft.com/office/officeart/2005/8/layout/process4"/>
    <dgm:cxn modelId="{8CF6E4F4-89A5-4971-89EE-14E1A5DA1312}" type="presParOf" srcId="{0E3BBF8E-8509-413B-87A3-426AD873ADAA}" destId="{B09EA6D1-D6FF-4166-B7E6-1D5211B95AC3}" srcOrd="0" destOrd="0" presId="urn:microsoft.com/office/officeart/2005/8/layout/process4"/>
    <dgm:cxn modelId="{C16DDC40-222B-41BB-8D4B-F4FDABCD954B}" type="presParOf" srcId="{0E3BBF8E-8509-413B-87A3-426AD873ADAA}" destId="{29AA02F1-13A0-474F-9FC7-FB0B1ACB9888}" srcOrd="1" destOrd="0" presId="urn:microsoft.com/office/officeart/2005/8/layout/process4"/>
    <dgm:cxn modelId="{A4D1E3FB-0D93-4018-B687-5DEF1AAB4954}" type="presParOf" srcId="{FB0A099A-48E8-4803-AC1F-DEB1AA0483A0}" destId="{37B0DB11-63D5-4C33-8D8A-E9D95A21BED7}" srcOrd="1" destOrd="0" presId="urn:microsoft.com/office/officeart/2005/8/layout/process4"/>
    <dgm:cxn modelId="{5526CC60-98F3-4177-A954-627D47509F7F}" type="presParOf" srcId="{FB0A099A-48E8-4803-AC1F-DEB1AA0483A0}" destId="{9DE6AA2D-1465-42E6-9DA0-A8DC34CB325E}" srcOrd="2" destOrd="0" presId="urn:microsoft.com/office/officeart/2005/8/layout/process4"/>
    <dgm:cxn modelId="{6950AD37-78FA-4EFD-BAAF-0F025C595BFD}" type="presParOf" srcId="{9DE6AA2D-1465-42E6-9DA0-A8DC34CB325E}" destId="{E03B73E2-0595-4F09-84FE-DED7C65212B0}" srcOrd="0" destOrd="0" presId="urn:microsoft.com/office/officeart/2005/8/layout/process4"/>
    <dgm:cxn modelId="{8F3E4D8A-4FDC-44DD-A30A-0A9CC81E8949}" type="presParOf" srcId="{9DE6AA2D-1465-42E6-9DA0-A8DC34CB325E}" destId="{9CD667F4-DFEC-41F9-AFD5-00CFAFFB94DE}" srcOrd="1" destOrd="0" presId="urn:microsoft.com/office/officeart/2005/8/layout/process4"/>
    <dgm:cxn modelId="{73BC3874-EC50-49D6-9692-E156E27F6A6C}" type="presParOf" srcId="{9DE6AA2D-1465-42E6-9DA0-A8DC34CB325E}" destId="{B6A317C6-DC45-4B53-AF67-BA3A6E3382C0}" srcOrd="2" destOrd="0" presId="urn:microsoft.com/office/officeart/2005/8/layout/process4"/>
    <dgm:cxn modelId="{17EC0D12-0554-4927-A741-D15F3FB04D34}" type="presParOf" srcId="{B6A317C6-DC45-4B53-AF67-BA3A6E3382C0}" destId="{CD4F4086-DD7A-40C7-B718-280986123BAC}" srcOrd="0" destOrd="0" presId="urn:microsoft.com/office/officeart/2005/8/layout/process4"/>
    <dgm:cxn modelId="{375BD2D1-CB2F-449A-9D67-BC46A92C30CC}" type="presParOf" srcId="{B6A317C6-DC45-4B53-AF67-BA3A6E3382C0}" destId="{6CE5069D-A416-47A1-A2FF-E8A1D537A325}" srcOrd="1" destOrd="0" presId="urn:microsoft.com/office/officeart/2005/8/layout/process4"/>
    <dgm:cxn modelId="{5561E4A6-0CFA-4D51-88AC-E90F3ED1E9F0}" type="presParOf" srcId="{FB0A099A-48E8-4803-AC1F-DEB1AA0483A0}" destId="{005E7217-A856-4770-901D-5137BBC3C5FC}" srcOrd="3" destOrd="0" presId="urn:microsoft.com/office/officeart/2005/8/layout/process4"/>
    <dgm:cxn modelId="{41541343-72A3-4F6A-97D0-550D5C34623C}" type="presParOf" srcId="{FB0A099A-48E8-4803-AC1F-DEB1AA0483A0}" destId="{F63A41A9-8247-4309-9594-1F3BEFC8E78D}" srcOrd="4" destOrd="0" presId="urn:microsoft.com/office/officeart/2005/8/layout/process4"/>
    <dgm:cxn modelId="{E04FA73C-F533-4159-9D77-9006BBD9AA4B}" type="presParOf" srcId="{F63A41A9-8247-4309-9594-1F3BEFC8E78D}" destId="{0D429F41-FD16-4002-AE8A-EE5DC17D12AE}" srcOrd="0" destOrd="0" presId="urn:microsoft.com/office/officeart/2005/8/layout/process4"/>
    <dgm:cxn modelId="{2DA07CD1-07D2-4BE2-88C6-D0FF48B67892}" type="presParOf" srcId="{F63A41A9-8247-4309-9594-1F3BEFC8E78D}" destId="{18DFF90D-FB10-4996-B940-295B8E9416AC}" srcOrd="1" destOrd="0" presId="urn:microsoft.com/office/officeart/2005/8/layout/process4"/>
    <dgm:cxn modelId="{53A6D232-637B-4318-821B-7B9B2D71EFEB}" type="presParOf" srcId="{F63A41A9-8247-4309-9594-1F3BEFC8E78D}" destId="{AAF7213E-49BE-4D08-9180-9AA0A308E041}" srcOrd="2" destOrd="0" presId="urn:microsoft.com/office/officeart/2005/8/layout/process4"/>
    <dgm:cxn modelId="{580AC50E-AF1B-47A1-97B0-803FF0B9B79A}" type="presParOf" srcId="{AAF7213E-49BE-4D08-9180-9AA0A308E041}" destId="{03327B26-E75D-4DBD-9478-5B2172C871FB}" srcOrd="0" destOrd="0" presId="urn:microsoft.com/office/officeart/2005/8/layout/process4"/>
    <dgm:cxn modelId="{8C00651F-EBAD-4741-9272-F66C53FC8837}" type="presParOf" srcId="{AAF7213E-49BE-4D08-9180-9AA0A308E041}" destId="{0C2DDBAA-A669-4C52-B2D5-3A304D8AB48D}" srcOrd="1" destOrd="0" presId="urn:microsoft.com/office/officeart/2005/8/layout/process4"/>
  </dgm:cxnLst>
  <dgm:bg/>
  <dgm:whole/>
  <dgm:extLst>
    <a:ext uri="http://schemas.microsoft.com/office/drawing/2008/diagram">
      <dsp:dataModelExt xmlns:dsp="http://schemas.microsoft.com/office/drawing/2008/diagram" relId="rId10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42F16EE-477F-4CD9-B580-0C7E21392724}">
      <dsp:nvSpPr>
        <dsp:cNvPr id="0" name=""/>
        <dsp:cNvSpPr/>
      </dsp:nvSpPr>
      <dsp:spPr>
        <a:xfrm>
          <a:off x="1711056" y="2032000"/>
          <a:ext cx="506536" cy="96519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253268" y="0"/>
              </a:lnTo>
              <a:lnTo>
                <a:pt x="253268" y="965199"/>
              </a:lnTo>
              <a:lnTo>
                <a:pt x="506536" y="965199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z="-110000"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500" kern="1200"/>
        </a:p>
      </dsp:txBody>
      <dsp:txXfrm>
        <a:off x="1937073" y="2487348"/>
        <a:ext cx="54502" cy="54502"/>
      </dsp:txXfrm>
    </dsp:sp>
    <dsp:sp modelId="{F3CDD584-C9D8-41B7-8A20-2F9B6C70A375}">
      <dsp:nvSpPr>
        <dsp:cNvPr id="0" name=""/>
        <dsp:cNvSpPr/>
      </dsp:nvSpPr>
      <dsp:spPr>
        <a:xfrm>
          <a:off x="1711056" y="1986280"/>
          <a:ext cx="506536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506536" y="45720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z="-110000"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500" kern="1200"/>
        </a:p>
      </dsp:txBody>
      <dsp:txXfrm>
        <a:off x="1951661" y="2019336"/>
        <a:ext cx="25326" cy="25326"/>
      </dsp:txXfrm>
    </dsp:sp>
    <dsp:sp modelId="{633AA4ED-6B76-408B-8C7D-E4F7D3210715}">
      <dsp:nvSpPr>
        <dsp:cNvPr id="0" name=""/>
        <dsp:cNvSpPr/>
      </dsp:nvSpPr>
      <dsp:spPr>
        <a:xfrm>
          <a:off x="1711056" y="1066799"/>
          <a:ext cx="506536" cy="965200"/>
        </a:xfrm>
        <a:custGeom>
          <a:avLst/>
          <a:gdLst/>
          <a:ahLst/>
          <a:cxnLst/>
          <a:rect l="0" t="0" r="0" b="0"/>
          <a:pathLst>
            <a:path>
              <a:moveTo>
                <a:pt x="0" y="965200"/>
              </a:moveTo>
              <a:lnTo>
                <a:pt x="253268" y="965200"/>
              </a:lnTo>
              <a:lnTo>
                <a:pt x="253268" y="0"/>
              </a:lnTo>
              <a:lnTo>
                <a:pt x="506536" y="0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z="-110000"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500" kern="1200"/>
        </a:p>
      </dsp:txBody>
      <dsp:txXfrm>
        <a:off x="1937073" y="1522148"/>
        <a:ext cx="54502" cy="54502"/>
      </dsp:txXfrm>
    </dsp:sp>
    <dsp:sp modelId="{0D28CA98-59D7-4B14-A205-E77B66B3E1C1}">
      <dsp:nvSpPr>
        <dsp:cNvPr id="0" name=""/>
        <dsp:cNvSpPr/>
      </dsp:nvSpPr>
      <dsp:spPr>
        <a:xfrm rot="16200000">
          <a:off x="-707023" y="1645920"/>
          <a:ext cx="4064000" cy="772160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31750" tIns="31750" rIns="31750" bIns="31750" numCol="1" spcCol="1270" anchor="ctr" anchorCtr="0">
          <a:noAutofit/>
        </a:bodyPr>
        <a:lstStyle/>
        <a:p>
          <a:pPr lvl="0" algn="ctr" defTabSz="2222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5000" kern="1200" dirty="0" smtClean="0"/>
            <a:t>ACCOUNTS</a:t>
          </a:r>
          <a:endParaRPr lang="en-US" sz="5000" kern="1200" dirty="0"/>
        </a:p>
      </dsp:txBody>
      <dsp:txXfrm>
        <a:off x="-707023" y="1645920"/>
        <a:ext cx="4064000" cy="772160"/>
      </dsp:txXfrm>
    </dsp:sp>
    <dsp:sp modelId="{45D12000-0D68-43D8-886A-19583409DA1E}">
      <dsp:nvSpPr>
        <dsp:cNvPr id="0" name=""/>
        <dsp:cNvSpPr/>
      </dsp:nvSpPr>
      <dsp:spPr>
        <a:xfrm>
          <a:off x="2217593" y="680719"/>
          <a:ext cx="2939509" cy="772160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6510" tIns="16510" rIns="16510" bIns="16510" numCol="1" spcCol="1270" anchor="ctr" anchorCtr="0">
          <a:noAutofit/>
        </a:bodyPr>
        <a:lstStyle/>
        <a:p>
          <a:pPr lvl="0" algn="ctr" defTabSz="11557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600" kern="1200" dirty="0" smtClean="0"/>
            <a:t>Personal Accounts</a:t>
          </a:r>
          <a:endParaRPr lang="en-US" sz="2600" kern="1200" dirty="0"/>
        </a:p>
      </dsp:txBody>
      <dsp:txXfrm>
        <a:off x="2217593" y="680719"/>
        <a:ext cx="2939509" cy="772160"/>
      </dsp:txXfrm>
    </dsp:sp>
    <dsp:sp modelId="{BA12036D-BB0D-4707-BA86-554565E0C513}">
      <dsp:nvSpPr>
        <dsp:cNvPr id="0" name=""/>
        <dsp:cNvSpPr/>
      </dsp:nvSpPr>
      <dsp:spPr>
        <a:xfrm>
          <a:off x="2217593" y="1645920"/>
          <a:ext cx="2939509" cy="772160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6510" tIns="16510" rIns="16510" bIns="16510" numCol="1" spcCol="1270" anchor="ctr" anchorCtr="0">
          <a:noAutofit/>
        </a:bodyPr>
        <a:lstStyle/>
        <a:p>
          <a:pPr lvl="0" algn="ctr" defTabSz="11557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600" kern="1200" dirty="0" smtClean="0"/>
            <a:t>Real Accounts</a:t>
          </a:r>
          <a:endParaRPr lang="en-US" sz="2600" kern="1200" dirty="0"/>
        </a:p>
      </dsp:txBody>
      <dsp:txXfrm>
        <a:off x="2217593" y="1645920"/>
        <a:ext cx="2939509" cy="772160"/>
      </dsp:txXfrm>
    </dsp:sp>
    <dsp:sp modelId="{73BF00F7-DAFD-4C28-B447-5BB9C3DD17B3}">
      <dsp:nvSpPr>
        <dsp:cNvPr id="0" name=""/>
        <dsp:cNvSpPr/>
      </dsp:nvSpPr>
      <dsp:spPr>
        <a:xfrm>
          <a:off x="2217593" y="2611119"/>
          <a:ext cx="2939509" cy="772160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6510" tIns="16510" rIns="16510" bIns="16510" numCol="1" spcCol="1270" anchor="ctr" anchorCtr="0">
          <a:noAutofit/>
        </a:bodyPr>
        <a:lstStyle/>
        <a:p>
          <a:pPr lvl="0" algn="ctr" defTabSz="11557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600" kern="1200" dirty="0" smtClean="0"/>
            <a:t>Nominal Accounts</a:t>
          </a:r>
          <a:endParaRPr lang="en-US" sz="2600" kern="1200" dirty="0"/>
        </a:p>
      </dsp:txBody>
      <dsp:txXfrm>
        <a:off x="2217593" y="2611119"/>
        <a:ext cx="2939509" cy="772160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2FDCEAB-84B2-43E8-9F7E-B25FA99BEFD6}">
      <dsp:nvSpPr>
        <dsp:cNvPr id="0" name=""/>
        <dsp:cNvSpPr/>
      </dsp:nvSpPr>
      <dsp:spPr>
        <a:xfrm>
          <a:off x="0" y="3059187"/>
          <a:ext cx="6096000" cy="1004093"/>
        </a:xfrm>
        <a:prstGeom prst="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5128" tIns="135128" rIns="135128" bIns="135128" numCol="1" spcCol="1270" anchor="ctr" anchorCtr="0">
          <a:noAutofit/>
        </a:bodyPr>
        <a:lstStyle/>
        <a:p>
          <a:pPr lvl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900" kern="1200" dirty="0" smtClean="0"/>
            <a:t>Nominal Accounts</a:t>
          </a:r>
          <a:endParaRPr lang="en-US" sz="1900" kern="1200" dirty="0"/>
        </a:p>
      </dsp:txBody>
      <dsp:txXfrm>
        <a:off x="0" y="3059187"/>
        <a:ext cx="6096000" cy="542210"/>
      </dsp:txXfrm>
    </dsp:sp>
    <dsp:sp modelId="{B09EA6D1-D6FF-4166-B7E6-1D5211B95AC3}">
      <dsp:nvSpPr>
        <dsp:cNvPr id="0" name=""/>
        <dsp:cNvSpPr/>
      </dsp:nvSpPr>
      <dsp:spPr>
        <a:xfrm>
          <a:off x="0" y="3581316"/>
          <a:ext cx="3047999" cy="461883"/>
        </a:xfrm>
        <a:prstGeom prst="rect">
          <a:avLst/>
        </a:prstGeom>
        <a:solidFill>
          <a:schemeClr val="accent2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49352" tIns="26670" rIns="149352" bIns="26670" numCol="1" spcCol="1270" anchor="ctr" anchorCtr="0">
          <a:noAutofit/>
        </a:bodyPr>
        <a:lstStyle/>
        <a:p>
          <a:pPr lvl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100" kern="1200" dirty="0" smtClean="0"/>
            <a:t>Debit Expenses &amp; Losses</a:t>
          </a:r>
          <a:endParaRPr lang="en-US" sz="2100" kern="1200" dirty="0"/>
        </a:p>
      </dsp:txBody>
      <dsp:txXfrm>
        <a:off x="0" y="3581316"/>
        <a:ext cx="3047999" cy="461883"/>
      </dsp:txXfrm>
    </dsp:sp>
    <dsp:sp modelId="{29AA02F1-13A0-474F-9FC7-FB0B1ACB9888}">
      <dsp:nvSpPr>
        <dsp:cNvPr id="0" name=""/>
        <dsp:cNvSpPr/>
      </dsp:nvSpPr>
      <dsp:spPr>
        <a:xfrm>
          <a:off x="3048000" y="3581316"/>
          <a:ext cx="3047999" cy="461883"/>
        </a:xfrm>
        <a:prstGeom prst="rect">
          <a:avLst/>
        </a:prstGeom>
        <a:solidFill>
          <a:schemeClr val="accent2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49352" tIns="26670" rIns="149352" bIns="26670" numCol="1" spcCol="1270" anchor="ctr" anchorCtr="0">
          <a:noAutofit/>
        </a:bodyPr>
        <a:lstStyle/>
        <a:p>
          <a:pPr lvl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100" kern="1200" dirty="0" smtClean="0"/>
            <a:t>Credit Incomes &amp; Gains</a:t>
          </a:r>
          <a:endParaRPr lang="en-US" sz="2100" kern="1200" dirty="0"/>
        </a:p>
      </dsp:txBody>
      <dsp:txXfrm>
        <a:off x="3048000" y="3581316"/>
        <a:ext cx="3047999" cy="461883"/>
      </dsp:txXfrm>
    </dsp:sp>
    <dsp:sp modelId="{9CD667F4-DFEC-41F9-AFD5-00CFAFFB94DE}">
      <dsp:nvSpPr>
        <dsp:cNvPr id="0" name=""/>
        <dsp:cNvSpPr/>
      </dsp:nvSpPr>
      <dsp:spPr>
        <a:xfrm rot="10800000">
          <a:off x="0" y="1529953"/>
          <a:ext cx="6096000" cy="1544296"/>
        </a:xfrm>
        <a:prstGeom prst="upArrowCallou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5128" tIns="135128" rIns="135128" bIns="135128" numCol="1" spcCol="1270" anchor="ctr" anchorCtr="0">
          <a:noAutofit/>
        </a:bodyPr>
        <a:lstStyle/>
        <a:p>
          <a:pPr lvl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900" kern="1200" dirty="0" smtClean="0"/>
            <a:t>Real Accounts</a:t>
          </a:r>
          <a:endParaRPr lang="en-US" sz="1900" kern="1200" dirty="0"/>
        </a:p>
      </dsp:txBody>
      <dsp:txXfrm rot="-10800000">
        <a:off x="0" y="1529953"/>
        <a:ext cx="6096000" cy="542047"/>
      </dsp:txXfrm>
    </dsp:sp>
    <dsp:sp modelId="{CD4F4086-DD7A-40C7-B718-280986123BAC}">
      <dsp:nvSpPr>
        <dsp:cNvPr id="0" name=""/>
        <dsp:cNvSpPr/>
      </dsp:nvSpPr>
      <dsp:spPr>
        <a:xfrm>
          <a:off x="0" y="2072001"/>
          <a:ext cx="3047999" cy="461744"/>
        </a:xfrm>
        <a:prstGeom prst="rect">
          <a:avLst/>
        </a:prstGeom>
        <a:solidFill>
          <a:schemeClr val="accent2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49352" tIns="26670" rIns="149352" bIns="26670" numCol="1" spcCol="1270" anchor="ctr" anchorCtr="0">
          <a:noAutofit/>
        </a:bodyPr>
        <a:lstStyle/>
        <a:p>
          <a:pPr lvl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100" kern="1200" dirty="0" smtClean="0"/>
            <a:t>Debit what Comes in</a:t>
          </a:r>
          <a:endParaRPr lang="en-US" sz="2100" kern="1200" dirty="0"/>
        </a:p>
      </dsp:txBody>
      <dsp:txXfrm>
        <a:off x="0" y="2072001"/>
        <a:ext cx="3047999" cy="461744"/>
      </dsp:txXfrm>
    </dsp:sp>
    <dsp:sp modelId="{6CE5069D-A416-47A1-A2FF-E8A1D537A325}">
      <dsp:nvSpPr>
        <dsp:cNvPr id="0" name=""/>
        <dsp:cNvSpPr/>
      </dsp:nvSpPr>
      <dsp:spPr>
        <a:xfrm>
          <a:off x="3048000" y="2072001"/>
          <a:ext cx="3047999" cy="461744"/>
        </a:xfrm>
        <a:prstGeom prst="rect">
          <a:avLst/>
        </a:prstGeom>
        <a:solidFill>
          <a:schemeClr val="accent2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49352" tIns="26670" rIns="149352" bIns="26670" numCol="1" spcCol="1270" anchor="ctr" anchorCtr="0">
          <a:noAutofit/>
        </a:bodyPr>
        <a:lstStyle/>
        <a:p>
          <a:pPr lvl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100" kern="1200" dirty="0" smtClean="0"/>
            <a:t>Credit what Goes out</a:t>
          </a:r>
          <a:endParaRPr lang="en-US" sz="2100" kern="1200" dirty="0"/>
        </a:p>
      </dsp:txBody>
      <dsp:txXfrm>
        <a:off x="3048000" y="2072001"/>
        <a:ext cx="3047999" cy="461744"/>
      </dsp:txXfrm>
    </dsp:sp>
    <dsp:sp modelId="{18DFF90D-FB10-4996-B940-295B8E9416AC}">
      <dsp:nvSpPr>
        <dsp:cNvPr id="0" name=""/>
        <dsp:cNvSpPr/>
      </dsp:nvSpPr>
      <dsp:spPr>
        <a:xfrm rot="10800000">
          <a:off x="0" y="718"/>
          <a:ext cx="6096000" cy="1544296"/>
        </a:xfrm>
        <a:prstGeom prst="upArrowCallou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5128" tIns="135128" rIns="135128" bIns="135128" numCol="1" spcCol="1270" anchor="ctr" anchorCtr="0">
          <a:noAutofit/>
        </a:bodyPr>
        <a:lstStyle/>
        <a:p>
          <a:pPr lvl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900" kern="1200" dirty="0" smtClean="0"/>
            <a:t>Personal Accounts</a:t>
          </a:r>
          <a:endParaRPr lang="en-US" sz="1900" kern="1200" dirty="0"/>
        </a:p>
      </dsp:txBody>
      <dsp:txXfrm rot="-10800000">
        <a:off x="0" y="718"/>
        <a:ext cx="6096000" cy="542047"/>
      </dsp:txXfrm>
    </dsp:sp>
    <dsp:sp modelId="{03327B26-E75D-4DBD-9478-5B2172C871FB}">
      <dsp:nvSpPr>
        <dsp:cNvPr id="0" name=""/>
        <dsp:cNvSpPr/>
      </dsp:nvSpPr>
      <dsp:spPr>
        <a:xfrm>
          <a:off x="0" y="542766"/>
          <a:ext cx="3047999" cy="461744"/>
        </a:xfrm>
        <a:prstGeom prst="rect">
          <a:avLst/>
        </a:prstGeom>
        <a:solidFill>
          <a:schemeClr val="accent2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49352" tIns="26670" rIns="149352" bIns="26670" numCol="1" spcCol="1270" anchor="ctr" anchorCtr="0">
          <a:noAutofit/>
        </a:bodyPr>
        <a:lstStyle/>
        <a:p>
          <a:pPr lvl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100" kern="1200" dirty="0" smtClean="0"/>
            <a:t>Debit the Receiver</a:t>
          </a:r>
          <a:endParaRPr lang="en-US" sz="2100" kern="1200" dirty="0"/>
        </a:p>
      </dsp:txBody>
      <dsp:txXfrm>
        <a:off x="0" y="542766"/>
        <a:ext cx="3047999" cy="461744"/>
      </dsp:txXfrm>
    </dsp:sp>
    <dsp:sp modelId="{0C2DDBAA-A669-4C52-B2D5-3A304D8AB48D}">
      <dsp:nvSpPr>
        <dsp:cNvPr id="0" name=""/>
        <dsp:cNvSpPr/>
      </dsp:nvSpPr>
      <dsp:spPr>
        <a:xfrm>
          <a:off x="3048000" y="542766"/>
          <a:ext cx="3047999" cy="461744"/>
        </a:xfrm>
        <a:prstGeom prst="rect">
          <a:avLst/>
        </a:prstGeom>
        <a:solidFill>
          <a:schemeClr val="accent2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49352" tIns="26670" rIns="149352" bIns="26670" numCol="1" spcCol="1270" anchor="ctr" anchorCtr="0">
          <a:noAutofit/>
        </a:bodyPr>
        <a:lstStyle/>
        <a:p>
          <a:pPr lvl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100" kern="1200" dirty="0" smtClean="0"/>
            <a:t>Credit the Giver</a:t>
          </a:r>
          <a:endParaRPr lang="en-US" sz="2100" kern="1200" dirty="0"/>
        </a:p>
      </dsp:txBody>
      <dsp:txXfrm>
        <a:off x="3048000" y="542766"/>
        <a:ext cx="3047999" cy="461744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8/layout/HorizontalMultiLevelHierarchy">
  <dgm:title val=""/>
  <dgm:desc val=""/>
  <dgm:catLst>
    <dgm:cat type="hierarchy" pri="46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 val="exact"/>
    </dgm:varLst>
    <dgm:choose name="Name1">
      <dgm:if name="Name2" func="var" arg="dir" op="equ" val="norm">
        <dgm:alg type="hierChild">
          <dgm:param type="linDir" val="fromT"/>
          <dgm:param type="chAlign" val="l"/>
        </dgm:alg>
      </dgm:if>
      <dgm:else name="Name3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des" forName="LevelOneTextNode" refType="h"/>
      <dgm:constr type="w" for="des" forName="LevelOneTextNode" refType="h" refFor="des" refForName="LevelOneTextNode" fact="0.19"/>
      <dgm:constr type="h" for="des" forName="LevelTwoTextNode" refType="w" refFor="des" refForName="LevelOneTextNode"/>
      <dgm:constr type="w" for="des" forName="LevelTwoTextNode" refType="h" refFor="des" refForName="LevelTwoTextNode" fact="3.28"/>
      <dgm:constr type="sibSp" refType="h" refFor="des" refForName="LevelTwoTextNode" op="equ" fact="0.25"/>
      <dgm:constr type="sibSp" for="des" forName="level2hierChild" refType="h" refFor="des" refForName="LevelTwoTextNode" op="equ" fact="0.25"/>
      <dgm:constr type="sibSp" for="des" forName="level3hierChild" refType="h" refFor="des" refForName="LevelTwoTextNode" op="equ" fact="0.25"/>
      <dgm:constr type="sp" for="des" forName="root1" refType="w" refFor="des" refForName="LevelTwoTextNode" fact="0.2"/>
      <dgm:constr type="sp" for="des" forName="root2" refType="sp" refFor="des" refForName="root1" op="equ"/>
      <dgm:constr type="primFontSz" for="des" forName="LevelOneTextNode" op="equ" val="65"/>
      <dgm:constr type="primFontSz" for="des" forName="LevelTwoTextNode" op="equ" val="65"/>
      <dgm:constr type="primFontSz" for="des" forName="LevelTwoTextNode" refType="primFontSz" refFor="des" refForName="LevelOneTextNode" op="lte"/>
      <dgm:constr type="primFontSz" for="des" forName="connTx" op="equ" val="50"/>
      <dgm:constr type="primFontSz" for="des" forName="connTx" refType="primFontSz" refFor="des" refForName="LevelOneTextNode" op="lte" fact="0.78"/>
    </dgm:constrLst>
    <dgm:forEach name="Name4" axis="ch">
      <dgm:forEach name="Name5" axis="self" ptType="node">
        <dgm:layoutNode name="root1">
          <dgm:choose name="Name6">
            <dgm:if name="Name7" func="var" arg="dir" op="equ" val="norm">
              <dgm:alg type="hierRoot">
                <dgm:param type="hierAlign" val="lCtrCh"/>
              </dgm:alg>
            </dgm:if>
            <dgm:else name="Name8">
              <dgm:alg type="hierRoot">
                <dgm:param type="hierAlign" val="rCtrCh"/>
              </dgm:alg>
            </dgm:else>
          </dgm:choose>
          <dgm:shape xmlns:r="http://schemas.openxmlformats.org/officeDocument/2006/relationships" r:blip="">
            <dgm:adjLst/>
          </dgm:shape>
          <dgm:presOf/>
          <dgm:layoutNode name="LevelOneTextNode" styleLbl="node0">
            <dgm:varLst>
              <dgm:chPref val="3"/>
            </dgm:varLst>
            <dgm:alg type="tx">
              <dgm:param type="autoTxRot" val="grav"/>
            </dgm:alg>
            <dgm:choose name="Name9">
              <dgm:if name="Name10" func="var" arg="dir" op="equ" val="norm">
                <dgm:shape xmlns:r="http://schemas.openxmlformats.org/officeDocument/2006/relationships" rot="270" type="rect" r:blip="">
                  <dgm:adjLst/>
                </dgm:shape>
              </dgm:if>
              <dgm:else name="Name11">
                <dgm:shape xmlns:r="http://schemas.openxmlformats.org/officeDocument/2006/relationships" rot="90" type="rect" r:blip="">
                  <dgm:adjLst/>
                </dgm:shape>
              </dgm:else>
            </dgm:choose>
            <dgm:presOf axis="self"/>
            <dgm:constrLst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2" fact="NaN" max="NaN"/>
            </dgm:ruleLst>
          </dgm:layoutNode>
          <dgm:layoutNode name="level2hierChild">
            <dgm:choose name="Name12">
              <dgm:if name="Name13" func="var" arg="dir" op="equ" val="norm">
                <dgm:alg type="hierChild">
                  <dgm:param type="linDir" val="fromT"/>
                  <dgm:param type="chAlign" val="l"/>
                </dgm:alg>
              </dgm:if>
              <dgm:else name="Name14">
                <dgm:alg type="hierChild">
                  <dgm:param type="linDir" val="fromT"/>
                  <dgm:param type="chAlign" val="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forEach name="repeat" axis="ch">
              <dgm:forEach name="Name15" axis="self" ptType="parTrans" cnt="1">
                <dgm:layoutNode name="conn2-1">
                  <dgm:choose name="Name16">
                    <dgm:if name="Name17" func="var" arg="dir" op="equ" val="norm">
                      <dgm:alg type="conn">
                        <dgm:param type="dim" val="1D"/>
                        <dgm:param type="begPts" val="midR"/>
                        <dgm:param type="endPts" val="midL"/>
                        <dgm:param type="endSty" val="noArr"/>
                        <dgm:param type="connRout" val="bend"/>
                      </dgm:alg>
                    </dgm:if>
                    <dgm:else name="Name18">
                      <dgm:alg type="conn">
                        <dgm:param type="dim" val="1D"/>
                        <dgm:param type="begPts" val="midL"/>
                        <dgm:param type="endPts" val="midR"/>
                        <dgm:param type="endSty" val="noArr"/>
                        <dgm:param type="connRout" val="bend"/>
                      </dgm:alg>
                    </dgm:else>
                  </dgm:choose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w" val="1"/>
                    <dgm:constr type="h" val="5"/>
                    <dgm:constr type="connDist"/>
                    <dgm:constr type="begPad"/>
                    <dgm:constr type="endPad"/>
                    <dgm:constr type="userA" for="ch" refType="connDist"/>
                  </dgm:constrLst>
                  <dgm:layoutNode name="connTx">
                    <dgm:alg type="tx">
                      <dgm:param type="autoTxRot" val="grav"/>
                    </dgm:alg>
                    <dgm:shape xmlns:r="http://schemas.openxmlformats.org/officeDocument/2006/relationships" type="rect" r:blip="" hideGeom="1">
                      <dgm:adjLst/>
                    </dgm:shape>
                    <dgm:presOf axis="self"/>
                    <dgm:constrLst>
                      <dgm:constr type="userA"/>
                      <dgm:constr type="w" refType="userA" fact="0.05"/>
                      <dgm:constr type="h" refType="userA" fact="0.05"/>
                      <dgm:constr type="lMarg" val="1"/>
                      <dgm:constr type="rMarg" val="1"/>
                      <dgm:constr type="tMarg"/>
                      <dgm:constr type="bMarg"/>
                    </dgm:constrLst>
                    <dgm:ruleLst>
                      <dgm:rule type="h" val="NaN" fact="0.25" max="NaN"/>
                      <dgm:rule type="w" val="NaN" fact="0.8" max="NaN"/>
                      <dgm:rule type="primFontSz" val="5" fact="NaN" max="NaN"/>
                    </dgm:ruleLst>
                  </dgm:layoutNode>
                </dgm:layoutNode>
              </dgm:forEach>
              <dgm:forEach name="Name19" axis="self" ptType="node">
                <dgm:layoutNode name="root2">
                  <dgm:choose name="Name20">
                    <dgm:if name="Name21" func="var" arg="dir" op="equ" val="norm">
                      <dgm:alg type="hierRoot">
                        <dgm:param type="hierAlign" val="lCtrCh"/>
                      </dgm:alg>
                    </dgm:if>
                    <dgm:else name="Name22">
                      <dgm:alg type="hierRoot">
                        <dgm:param type="hierAlign" val="rCtrCh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layoutNode name="LevelTwoTextNode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/>
                    <dgm:constrLst>
                      <dgm:constr type="tMarg" refType="primFontSz" fact="0.05"/>
                      <dgm:constr type="bMarg" refType="primFontSz" fact="0.05"/>
                      <dgm:constr type="lMarg" refType="primFontSz" fact="0.05"/>
                      <dgm:constr type="rMarg" refType="primFontSz" fact="0.05"/>
                    </dgm:constrLst>
                    <dgm:ruleLst>
                      <dgm:rule type="primFontSz" val="2" fact="NaN" max="NaN"/>
                    </dgm:ruleLst>
                  </dgm:layoutNode>
                  <dgm:layoutNode name="level3hierChild">
                    <dgm:choose name="Name23">
                      <dgm:if name="Name24" func="var" arg="dir" op="equ" val="norm">
                        <dgm:alg type="hierChild">
                          <dgm:param type="linDir" val="fromT"/>
                          <dgm:param type="chAlign" val="l"/>
                        </dgm:alg>
                      </dgm:if>
                      <dgm:else name="Name25">
                        <dgm:alg type="hierChild">
                          <dgm:param type="linDir" val="fromT"/>
                          <dgm:param type="chAlign" val="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forEach name="Name26" ref="repeat"/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process4">
  <dgm:title val=""/>
  <dgm:desc val=""/>
  <dgm:catLst>
    <dgm:cat type="process" pri="16000"/>
    <dgm:cat type="list" pri="20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alg type="lin">
      <dgm:param type="linDir" val="fromB"/>
    </dgm:alg>
    <dgm:shape xmlns:r="http://schemas.openxmlformats.org/officeDocument/2006/relationships" r:blip="">
      <dgm:adjLst/>
    </dgm:shape>
    <dgm:presOf/>
    <dgm:constrLst>
      <dgm:constr type="h" for="ch" forName="boxAndChildren" refType="h"/>
      <dgm:constr type="h" for="ch" forName="arrowAndChildren" refType="h" refFor="ch" refForName="boxAndChildren" op="equ" fact="1.538"/>
      <dgm:constr type="w" for="ch" forName="arrowAndChildren" refType="w"/>
      <dgm:constr type="w" for="ch" forName="boxAndChildren" refType="w"/>
      <dgm:constr type="h" for="ch" forName="sp" refType="h" fact="-0.015"/>
      <dgm:constr type="primFontSz" for="des" forName="parentTextBox" val="65"/>
      <dgm:constr type="primFontSz" for="des" forName="parentTextArrow" refType="primFontSz" refFor="des" refForName="parentTextBox" op="equ"/>
      <dgm:constr type="primFontSz" for="des" forName="childTextArrow" val="65"/>
      <dgm:constr type="primFontSz" for="des" forName="childTextBox" refType="primFontSz" refFor="des" refForName="childTextArrow" op="equ"/>
    </dgm:constrLst>
    <dgm:ruleLst/>
    <dgm:forEach name="Name1" axis="ch" ptType="node" st="-1" step="-1">
      <dgm:choose name="Name2">
        <dgm:if name="Name3" axis="self" ptType="node" func="revPos" op="equ" val="1">
          <dgm:layoutNode name="boxAndChildren">
            <dgm:alg type="composite"/>
            <dgm:shape xmlns:r="http://schemas.openxmlformats.org/officeDocument/2006/relationships" r:blip="">
              <dgm:adjLst/>
            </dgm:shape>
            <dgm:presOf/>
            <dgm:choose name="Name4">
              <dgm:if name="Name5" axis="ch" ptType="node" func="cnt" op="gte" val="1">
                <dgm:constrLst>
                  <dgm:constr type="w" for="ch" forName="parentTextBox" refType="w"/>
                  <dgm:constr type="h" for="ch" forName="parentTextBox" refType="h" fact="0.54"/>
                  <dgm:constr type="t" for="ch" forName="parentTextBox"/>
                  <dgm:constr type="w" for="ch" forName="entireBox" refType="w"/>
                  <dgm:constr type="h" for="ch" forName="entireBox" refType="h"/>
                  <dgm:constr type="w" for="ch" forName="descendantBox" refType="w"/>
                  <dgm:constr type="b" for="ch" forName="descendantBox" refType="h" fact="0.98"/>
                  <dgm:constr type="h" for="ch" forName="descendantBox" refType="h" fact="0.46"/>
                </dgm:constrLst>
              </dgm:if>
              <dgm:else name="Name6">
                <dgm:constrLst>
                  <dgm:constr type="w" for="ch" forName="parentTextBox" refType="w"/>
                  <dgm:constr type="h" for="ch" forName="parentTextBox" refType="h"/>
                </dgm:constrLst>
              </dgm:else>
            </dgm:choose>
            <dgm:ruleLst/>
            <dgm:layoutNode name="parentTextBox">
              <dgm:alg type="tx"/>
              <dgm:choose name="Name7">
                <dgm:if name="Name8" axis="ch" ptType="node" func="cnt" op="gte" val="1">
                  <dgm:shape xmlns:r="http://schemas.openxmlformats.org/officeDocument/2006/relationships" type="rect" r:blip="" zOrderOff="1" hideGeom="1">
                    <dgm:adjLst/>
                  </dgm:shape>
                </dgm:if>
                <dgm:else name="Name9">
                  <dgm:shape xmlns:r="http://schemas.openxmlformats.org/officeDocument/2006/relationships" type="rect" r:blip="">
                    <dgm:adjLst/>
                  </dgm:shape>
                </dgm:else>
              </dgm:choose>
              <dgm:presOf axis="self"/>
              <dgm:constrLst/>
              <dgm:ruleLst>
                <dgm:rule type="primFontSz" val="5" fact="NaN" max="NaN"/>
              </dgm:ruleLst>
            </dgm:layoutNode>
            <dgm:choose name="Name10">
              <dgm:if name="Name11" axis="ch" ptType="node" func="cnt" op="gte" val="1">
                <dgm:layoutNode name="entireBox">
                  <dgm:alg type="sp"/>
                  <dgm:shape xmlns:r="http://schemas.openxmlformats.org/officeDocument/2006/relationships" type="rect" r:blip="">
                    <dgm:adjLst/>
                  </dgm:shape>
                  <dgm:presOf axis="self"/>
                  <dgm:constrLst/>
                  <dgm:ruleLst/>
                </dgm:layoutNode>
                <dgm:layoutNode name="descendantBox" styleLbl="fgAccFollowNode1">
                  <dgm:choose name="Name12">
                    <dgm:if name="Name13" func="var" arg="dir" op="equ" val="norm">
                      <dgm:alg type="lin"/>
                    </dgm:if>
                    <dgm:else name="Name14">
                      <dgm:alg type="lin">
                        <dgm:param type="linDir" val="fromR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w" for="ch" forName="childTextBox" refType="w"/>
                    <dgm:constr type="h" for="ch" forName="childTextBox" refType="h"/>
                  </dgm:constrLst>
                  <dgm:ruleLst/>
                  <dgm:forEach name="Name15" axis="ch" ptType="node">
                    <dgm:layoutNode name="childTextBox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rect" r:blip="">
                        <dgm:adjLst/>
                      </dgm:shape>
                      <dgm:presOf axis="desOrSelf" ptType="node"/>
                      <dgm:constrLst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</dgm:forEach>
                </dgm:layoutNode>
              </dgm:if>
              <dgm:else name="Name16"/>
            </dgm:choose>
          </dgm:layoutNode>
        </dgm:if>
        <dgm:else name="Name17">
          <dgm:layoutNode name="arrowAndChildren">
            <dgm:alg type="composite"/>
            <dgm:shape xmlns:r="http://schemas.openxmlformats.org/officeDocument/2006/relationships" r:blip="">
              <dgm:adjLst/>
            </dgm:shape>
            <dgm:presOf/>
            <dgm:choose name="Name18">
              <dgm:if name="Name19" axis="ch" ptType="node" func="cnt" op="gte" val="1">
                <dgm:constrLst>
                  <dgm:constr type="w" for="ch" forName="parentTextArrow" refType="w"/>
                  <dgm:constr type="t" for="ch" forName="parentTextArrow"/>
                  <dgm:constr type="h" for="ch" forName="parentTextArrow" refType="h" fact="0.351"/>
                  <dgm:constr type="w" for="ch" forName="arrow" refType="w"/>
                  <dgm:constr type="h" for="ch" forName="arrow" refType="h"/>
                  <dgm:constr type="w" for="ch" forName="descendantArrow" refType="w"/>
                  <dgm:constr type="b" for="ch" forName="descendantArrow" refType="h" fact="0.65"/>
                  <dgm:constr type="h" for="ch" forName="descendantArrow" refType="h" fact="0.299"/>
                </dgm:constrLst>
              </dgm:if>
              <dgm:else name="Name20">
                <dgm:constrLst>
                  <dgm:constr type="w" for="ch" forName="parentTextArrow" refType="w"/>
                  <dgm:constr type="h" for="ch" forName="parentTextArrow" refType="h"/>
                </dgm:constrLst>
              </dgm:else>
            </dgm:choose>
            <dgm:ruleLst/>
            <dgm:layoutNode name="parentTextArrow">
              <dgm:alg type="tx"/>
              <dgm:choose name="Name21">
                <dgm:if name="Name22" axis="ch" ptType="node" func="cnt" op="gte" val="1">
                  <dgm:shape xmlns:r="http://schemas.openxmlformats.org/officeDocument/2006/relationships" type="rect" r:blip="" zOrderOff="1" hideGeom="1">
                    <dgm:adjLst/>
                  </dgm:shape>
                </dgm:if>
                <dgm:else name="Name23">
                  <dgm:shape xmlns:r="http://schemas.openxmlformats.org/officeDocument/2006/relationships" rot="180" type="upArrowCallout" r:blip="">
                    <dgm:adjLst/>
                  </dgm:shape>
                </dgm:else>
              </dgm:choose>
              <dgm:presOf axis="self"/>
              <dgm:constrLst/>
              <dgm:ruleLst>
                <dgm:rule type="primFontSz" val="5" fact="NaN" max="NaN"/>
              </dgm:ruleLst>
            </dgm:layoutNode>
            <dgm:choose name="Name24">
              <dgm:if name="Name25" axis="ch" ptType="node" func="cnt" op="gte" val="1">
                <dgm:layoutNode name="arrow">
                  <dgm:alg type="sp"/>
                  <dgm:shape xmlns:r="http://schemas.openxmlformats.org/officeDocument/2006/relationships" rot="180" type="upArrowCallout" r:blip="">
                    <dgm:adjLst/>
                  </dgm:shape>
                  <dgm:presOf axis="self"/>
                  <dgm:constrLst/>
                  <dgm:ruleLst/>
                </dgm:layoutNode>
                <dgm:layoutNode name="descendantArrow">
                  <dgm:choose name="Name26">
                    <dgm:if name="Name27" func="var" arg="dir" op="equ" val="norm">
                      <dgm:alg type="lin"/>
                    </dgm:if>
                    <dgm:else name="Name28">
                      <dgm:alg type="lin">
                        <dgm:param type="linDir" val="fromR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w" for="ch" forName="childTextArrow" refType="w"/>
                    <dgm:constr type="h" for="ch" forName="childTextArrow" refType="h"/>
                  </dgm:constrLst>
                  <dgm:ruleLst/>
                  <dgm:forEach name="Name29" axis="ch" ptType="node">
                    <dgm:layoutNode name="childTextArrow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rect" r:blip="">
                        <dgm:adjLst/>
                      </dgm:shape>
                      <dgm:presOf axis="desOrSelf" ptType="node"/>
                      <dgm:constrLst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</dgm:forEach>
                </dgm:layoutNode>
              </dgm:if>
              <dgm:else name="Name30"/>
            </dgm:choose>
          </dgm:layoutNode>
        </dgm:else>
      </dgm:choose>
      <dgm:forEach name="Name31" axis="precedSib" ptType="sibTrans" st="-1" cnt="1">
        <dgm:layoutNode name="sp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3d3">
  <dgm:title val=""/>
  <dgm:desc val=""/>
  <dgm:catLst>
    <dgm:cat type="3D" pri="11300"/>
  </dgm:catLst>
  <dgm:scene3d>
    <a:camera prst="orthographicFront"/>
    <a:lightRig rig="threePt" dir="t"/>
  </dgm:scene3d>
  <dgm:styleLbl name="node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clear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182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>
        <a:rot lat="0" lon="0" rev="0"/>
      </a:camera>
      <a:lightRig rig="contrasting" dir="t">
        <a:rot lat="0" lon="0" rev="1200000"/>
      </a:lightRig>
    </dgm:scene3d>
    <dgm:sp3d z="10000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>
        <a:rot lat="0" lon="0" rev="0"/>
      </a:camera>
      <a:lightRig rig="contrasting" dir="t">
        <a:rot lat="0" lon="0" rev="1200000"/>
      </a:lightRig>
    </dgm:scene3d>
    <dgm:sp3d z="-300000" prstMaterial="plastic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00800" h="1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>
        <a:rot lat="0" lon="0" rev="0"/>
      </a:camera>
      <a:lightRig rig="contrasting" dir="t">
        <a:rot lat="0" lon="0" rev="1200000"/>
      </a:lightRig>
    </dgm:scene3d>
    <dgm:sp3d z="-1524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339E2F8-3C53-43AC-AD33-2EC644AEB2BE}" type="datetimeFigureOut">
              <a:rPr lang="en-US" smtClean="0"/>
              <a:t>13-Jun-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D59129-E287-4EBC-8723-7CB46D09F70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6389386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339E2F8-3C53-43AC-AD33-2EC644AEB2BE}" type="datetimeFigureOut">
              <a:rPr lang="en-US" smtClean="0"/>
              <a:t>13-Jun-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D59129-E287-4EBC-8723-7CB46D09F70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6121513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339E2F8-3C53-43AC-AD33-2EC644AEB2BE}" type="datetimeFigureOut">
              <a:rPr lang="en-US" smtClean="0"/>
              <a:t>13-Jun-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D59129-E287-4EBC-8723-7CB46D09F70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3674212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8665668-32AA-45F3-8E85-8E4AA592C84A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3-Jun-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D07984-CD28-4D3E-9B88-BCF42D71AB42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4069669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8665668-32AA-45F3-8E85-8E4AA592C84A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3-Jun-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D07984-CD28-4D3E-9B88-BCF42D71AB42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8569237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8665668-32AA-45F3-8E85-8E4AA592C84A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3-Jun-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D07984-CD28-4D3E-9B88-BCF42D71AB42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2605358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8665668-32AA-45F3-8E85-8E4AA592C84A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3-Jun-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D07984-CD28-4D3E-9B88-BCF42D71AB42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8899830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8665668-32AA-45F3-8E85-8E4AA592C84A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3-Jun-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D07984-CD28-4D3E-9B88-BCF42D71AB42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0202624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8665668-32AA-45F3-8E85-8E4AA592C84A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3-Jun-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D07984-CD28-4D3E-9B88-BCF42D71AB42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5166836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8665668-32AA-45F3-8E85-8E4AA592C84A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3-Jun-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D07984-CD28-4D3E-9B88-BCF42D71AB42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9554953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8665668-32AA-45F3-8E85-8E4AA592C84A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3-Jun-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D07984-CD28-4D3E-9B88-BCF42D71AB42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1765648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339E2F8-3C53-43AC-AD33-2EC644AEB2BE}" type="datetimeFigureOut">
              <a:rPr lang="en-US" smtClean="0"/>
              <a:t>13-Jun-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D59129-E287-4EBC-8723-7CB46D09F70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33454700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8665668-32AA-45F3-8E85-8E4AA592C84A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3-Jun-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D07984-CD28-4D3E-9B88-BCF42D71AB42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7594708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8665668-32AA-45F3-8E85-8E4AA592C84A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3-Jun-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D07984-CD28-4D3E-9B88-BCF42D71AB42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1501296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8665668-32AA-45F3-8E85-8E4AA592C84A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3-Jun-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D07984-CD28-4D3E-9B88-BCF42D71AB42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1806415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67544" y="2636912"/>
            <a:ext cx="8229600" cy="4525963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AU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7184351-3E70-42A6-AA20-90E54E643CB1}" type="datetimeFigureOut">
              <a:rPr lang="en-AU" smtClean="0">
                <a:solidFill>
                  <a:prstClr val="black">
                    <a:tint val="75000"/>
                  </a:prstClr>
                </a:solidFill>
              </a:rPr>
              <a:pPr/>
              <a:t>13/06/2022</a:t>
            </a:fld>
            <a:endParaRPr lang="en-A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077BD50-AFEA-400D-A1C9-0790E5825567}" type="slidenum">
              <a:rPr lang="en-A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A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115402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bg>
      <p:bgRef idx="1002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 flipH="1">
            <a:off x="2667000" y="0"/>
            <a:ext cx="6477000" cy="6858000"/>
          </a:xfrm>
          <a:prstGeom prst="rect">
            <a:avLst/>
          </a:prstGeom>
          <a:blipFill>
            <a:blip r:embed="rId2">
              <a:alphaModFix amt="43000"/>
            </a:blip>
            <a:tile tx="0" ty="0" sx="50000" sy="50000" flip="none" algn="tl"/>
          </a:blipFill>
          <a:ln w="0" cap="flat" cmpd="sng" algn="ctr">
            <a:noFill/>
            <a:prstDash val="solid"/>
          </a:ln>
          <a:effectLst>
            <a:fillOverlay blend="mult">
              <a:gradFill rotWithShape="1">
                <a:gsLst>
                  <a:gs pos="0">
                    <a:schemeClr val="tx2">
                      <a:tint val="62000"/>
                      <a:satMod val="420000"/>
                    </a:schemeClr>
                  </a:gs>
                  <a:gs pos="100000">
                    <a:schemeClr val="tx2">
                      <a:shade val="20000"/>
                      <a:satMod val="170000"/>
                    </a:schemeClr>
                  </a:gs>
                </a:gsLst>
                <a:path path="circle">
                  <a:fillToRect l="50000" t="100000" r="50000"/>
                </a:path>
                <a:tileRect/>
              </a:gradFill>
            </a:fillOverlay>
            <a:innerShdw blurRad="63500" dist="44450" dir="10800000">
              <a:srgbClr val="000000">
                <a:alpha val="50000"/>
              </a:srgbClr>
            </a:innerShdw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 eaLnBrk="1" latinLnBrk="0" hangingPunct="1"/>
            <a:endParaRPr kumimoji="0" lang="en-US"/>
          </a:p>
        </p:txBody>
      </p:sp>
      <p:sp>
        <p:nvSpPr>
          <p:cNvPr id="9" name="Straight Connector 8"/>
          <p:cNvSpPr>
            <a:spLocks noChangeShapeType="1"/>
          </p:cNvSpPr>
          <p:nvPr/>
        </p:nvSpPr>
        <p:spPr bwMode="auto">
          <a:xfrm rot="16200000">
            <a:off x="-762000" y="3429000"/>
            <a:ext cx="6858000" cy="0"/>
          </a:xfrm>
          <a:prstGeom prst="line">
            <a:avLst/>
          </a:prstGeom>
          <a:noFill/>
          <a:ln w="11430" cap="flat" cmpd="sng" algn="ctr">
            <a:solidFill>
              <a:schemeClr val="bg1">
                <a:shade val="95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anchor="t" compatLnSpc="1"/>
          <a:lstStyle>
            <a:extLst/>
          </a:lstStyle>
          <a:p>
            <a:endParaRPr kumimoji="0" lang="en-US"/>
          </a:p>
        </p:txBody>
      </p:sp>
      <p:sp>
        <p:nvSpPr>
          <p:cNvPr id="12" name="Title 11"/>
          <p:cNvSpPr>
            <a:spLocks noGrp="1"/>
          </p:cNvSpPr>
          <p:nvPr>
            <p:ph type="ctrTitle"/>
          </p:nvPr>
        </p:nvSpPr>
        <p:spPr>
          <a:xfrm>
            <a:off x="3366868" y="533400"/>
            <a:ext cx="5105400" cy="2868168"/>
          </a:xfrm>
        </p:spPr>
        <p:txBody>
          <a:bodyPr lIns="45720" tIns="0" rIns="45720">
            <a:noAutofit/>
          </a:bodyPr>
          <a:lstStyle>
            <a:lvl1pPr algn="r">
              <a:defRPr sz="4200" b="1"/>
            </a:lvl1pPr>
            <a:extLst/>
          </a:lstStyle>
          <a:p>
            <a:r>
              <a:rPr kumimoji="0" lang="en-US" smtClean="0"/>
              <a:t>Click to edit Master title style</a:t>
            </a:r>
            <a:endParaRPr kumimoji="0" lang="en-US"/>
          </a:p>
        </p:txBody>
      </p:sp>
      <p:sp>
        <p:nvSpPr>
          <p:cNvPr id="25" name="Subtitle 24"/>
          <p:cNvSpPr>
            <a:spLocks noGrp="1"/>
          </p:cNvSpPr>
          <p:nvPr>
            <p:ph type="subTitle" idx="1"/>
          </p:nvPr>
        </p:nvSpPr>
        <p:spPr>
          <a:xfrm>
            <a:off x="3354442" y="3539864"/>
            <a:ext cx="5114778" cy="1101248"/>
          </a:xfrm>
        </p:spPr>
        <p:txBody>
          <a:bodyPr lIns="45720" tIns="0" rIns="45720" bIns="0"/>
          <a:lstStyle>
            <a:lvl1pPr marL="0" indent="0" algn="r">
              <a:buNone/>
              <a:defRPr sz="2200">
                <a:solidFill>
                  <a:srgbClr val="FFFFFF"/>
                </a:solidFill>
                <a:effectLst/>
              </a:defRPr>
            </a:lvl1pPr>
            <a:lvl2pPr marL="457200" indent="0" algn="ctr">
              <a:buNone/>
            </a:lvl2pPr>
            <a:lvl3pPr marL="914400" indent="0" algn="ctr">
              <a:buNone/>
            </a:lvl3pPr>
            <a:lvl4pPr marL="1371600" indent="0" algn="ctr">
              <a:buNone/>
            </a:lvl4pPr>
            <a:lvl5pPr marL="1828800" indent="0" algn="ctr">
              <a:buNone/>
            </a:lvl5pPr>
            <a:lvl6pPr marL="2286000" indent="0" algn="ctr">
              <a:buNone/>
            </a:lvl6pPr>
            <a:lvl7pPr marL="2743200" indent="0" algn="ctr">
              <a:buNone/>
            </a:lvl7pPr>
            <a:lvl8pPr marL="3200400" indent="0" algn="ctr">
              <a:buNone/>
            </a:lvl8pPr>
            <a:lvl9pPr marL="3657600" indent="0" algn="ctr">
              <a:buNone/>
            </a:lvl9pPr>
            <a:extLst/>
          </a:lstStyle>
          <a:p>
            <a:r>
              <a:rPr kumimoji="0" lang="en-US" smtClean="0"/>
              <a:t>Click to edit Master subtitle style</a:t>
            </a:r>
            <a:endParaRPr kumimoji="0" lang="en-US"/>
          </a:p>
        </p:txBody>
      </p:sp>
      <p:sp>
        <p:nvSpPr>
          <p:cNvPr id="31" name="Date Placeholder 30"/>
          <p:cNvSpPr>
            <a:spLocks noGrp="1"/>
          </p:cNvSpPr>
          <p:nvPr>
            <p:ph type="dt" sz="half" idx="10"/>
          </p:nvPr>
        </p:nvSpPr>
        <p:spPr>
          <a:xfrm>
            <a:off x="5871224" y="6557946"/>
            <a:ext cx="2002464" cy="226902"/>
          </a:xfrm>
        </p:spPr>
        <p:txBody>
          <a:bodyPr/>
          <a:lstStyle>
            <a:lvl1pPr>
              <a:defRPr lang="en-US" smtClean="0">
                <a:solidFill>
                  <a:srgbClr val="FFFFFF"/>
                </a:solidFill>
              </a:defRPr>
            </a:lvl1pPr>
            <a:extLst/>
          </a:lstStyle>
          <a:p>
            <a:fld id="{1D8BD707-D9CF-40AE-B4C6-C98DA3205C09}" type="datetimeFigureOut">
              <a:rPr lang="en-US" smtClean="0">
                <a:solidFill>
                  <a:srgbClr val="F0A22E">
                    <a:shade val="75000"/>
                  </a:srgbClr>
                </a:solidFill>
              </a:rPr>
              <a:pPr/>
              <a:t>13-Jun-22</a:t>
            </a:fld>
            <a:endParaRPr lang="en-US">
              <a:solidFill>
                <a:srgbClr val="F0A22E">
                  <a:shade val="75000"/>
                </a:srgbClr>
              </a:solidFill>
            </a:endParaRPr>
          </a:p>
        </p:txBody>
      </p:sp>
      <p:sp>
        <p:nvSpPr>
          <p:cNvPr id="18" name="Footer Placeholder 17"/>
          <p:cNvSpPr>
            <a:spLocks noGrp="1"/>
          </p:cNvSpPr>
          <p:nvPr>
            <p:ph type="ftr" sz="quarter" idx="11"/>
          </p:nvPr>
        </p:nvSpPr>
        <p:spPr>
          <a:xfrm>
            <a:off x="2819400" y="6557946"/>
            <a:ext cx="2927722" cy="228600"/>
          </a:xfrm>
        </p:spPr>
        <p:txBody>
          <a:bodyPr/>
          <a:lstStyle>
            <a:lvl1pPr>
              <a:defRPr lang="en-US" dirty="0">
                <a:solidFill>
                  <a:srgbClr val="FFFFFF"/>
                </a:solidFill>
              </a:defRPr>
            </a:lvl1pPr>
            <a:extLst/>
          </a:lstStyle>
          <a:p>
            <a:endParaRPr lang="en-US">
              <a:solidFill>
                <a:srgbClr val="F0A22E">
                  <a:shade val="75000"/>
                </a:srgbClr>
              </a:solidFill>
            </a:endParaRPr>
          </a:p>
        </p:txBody>
      </p:sp>
      <p:sp>
        <p:nvSpPr>
          <p:cNvPr id="29" name="Slide Number Placeholder 28"/>
          <p:cNvSpPr>
            <a:spLocks noGrp="1"/>
          </p:cNvSpPr>
          <p:nvPr>
            <p:ph type="sldNum" sz="quarter" idx="12"/>
          </p:nvPr>
        </p:nvSpPr>
        <p:spPr>
          <a:xfrm>
            <a:off x="7880884" y="6556248"/>
            <a:ext cx="588336" cy="228600"/>
          </a:xfrm>
        </p:spPr>
        <p:txBody>
          <a:bodyPr/>
          <a:lstStyle>
            <a:lvl1pPr>
              <a:defRPr lang="en-US" smtClean="0">
                <a:solidFill>
                  <a:srgbClr val="FFFFFF"/>
                </a:solidFill>
              </a:defRPr>
            </a:lvl1pPr>
            <a:extLst/>
          </a:lstStyle>
          <a:p>
            <a:fld id="{B6F15528-21DE-4FAA-801E-634DDDAF4B2B}" type="slidenum">
              <a:rPr lang="en-US" smtClean="0">
                <a:solidFill>
                  <a:srgbClr val="F0A22E">
                    <a:shade val="75000"/>
                  </a:srgbClr>
                </a:solidFill>
              </a:rPr>
              <a:pPr/>
              <a:t>‹#›</a:t>
            </a:fld>
            <a:endParaRPr lang="en-US">
              <a:solidFill>
                <a:srgbClr val="F0A22E">
                  <a:shade val="75000"/>
                </a:srgbClr>
              </a:solidFill>
            </a:endParaRPr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  <p:transition spd="slow">
    <p:diamond/>
  </p:transition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extLst/>
          </a:lstStyle>
          <a:p>
            <a:r>
              <a:rPr kumimoji="0" lang="en-US" smtClean="0"/>
              <a:t>Click to edit Master title style</a:t>
            </a:r>
            <a:endParaRPr kumimoji="0"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extLst/>
          </a:lstStyle>
          <a:p>
            <a:pPr lvl="0" eaLnBrk="1" latinLnBrk="0" hangingPunct="1"/>
            <a:r>
              <a:rPr lang="en-US" smtClean="0"/>
              <a:t>Click to edit Master text styles</a:t>
            </a:r>
          </a:p>
          <a:p>
            <a:pPr lvl="1" eaLnBrk="1" latinLnBrk="0" hangingPunct="1"/>
            <a:r>
              <a:rPr lang="en-US" smtClean="0"/>
              <a:t>Second level</a:t>
            </a:r>
          </a:p>
          <a:p>
            <a:pPr lvl="2" eaLnBrk="1" latinLnBrk="0" hangingPunct="1"/>
            <a:r>
              <a:rPr lang="en-US" smtClean="0"/>
              <a:t>Third level</a:t>
            </a:r>
          </a:p>
          <a:p>
            <a:pPr lvl="3" eaLnBrk="1" latinLnBrk="0" hangingPunct="1"/>
            <a:r>
              <a:rPr lang="en-US" smtClean="0"/>
              <a:t>Fourth level</a:t>
            </a:r>
          </a:p>
          <a:p>
            <a:pPr lvl="4" eaLnBrk="1" latinLnBrk="0" hangingPunct="1"/>
            <a:r>
              <a:rPr lang="en-US" smtClean="0"/>
              <a:t>Fifth level</a:t>
            </a:r>
            <a:endParaRPr kumimoji="0"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1D8BD707-D9CF-40AE-B4C6-C98DA3205C09}" type="datetimeFigureOut">
              <a:rPr lang="en-US" smtClean="0">
                <a:solidFill>
                  <a:srgbClr val="F0A22E">
                    <a:shade val="75000"/>
                  </a:srgbClr>
                </a:solidFill>
              </a:rPr>
              <a:pPr/>
              <a:t>13-Jun-22</a:t>
            </a:fld>
            <a:endParaRPr lang="en-US">
              <a:solidFill>
                <a:srgbClr val="F0A22E">
                  <a:shade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en-US">
              <a:solidFill>
                <a:srgbClr val="F0A22E">
                  <a:shade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B6F15528-21DE-4FAA-801E-634DDDAF4B2B}" type="slidenum">
              <a:rPr lang="en-US" smtClean="0">
                <a:solidFill>
                  <a:srgbClr val="F0A22E">
                    <a:shade val="75000"/>
                  </a:srgbClr>
                </a:solidFill>
              </a:rPr>
              <a:pPr/>
              <a:t>‹#›</a:t>
            </a:fld>
            <a:endParaRPr lang="en-US">
              <a:solidFill>
                <a:srgbClr val="F0A22E">
                  <a:shade val="75000"/>
                </a:srgbClr>
              </a:solidFill>
            </a:endParaRPr>
          </a:p>
        </p:txBody>
      </p:sp>
    </p:spTree>
  </p:cSld>
  <p:clrMapOvr>
    <a:masterClrMapping/>
  </p:clrMapOvr>
  <p:transition spd="slow">
    <p:diamond/>
  </p:transition>
  <p:timing>
    <p:tnLst>
      <p:par>
        <p:cTn id="1" dur="indefinite" restart="never" nodeType="tmRoot"/>
      </p:par>
    </p:tn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66800" y="2821837"/>
            <a:ext cx="6255488" cy="1362075"/>
          </a:xfrm>
        </p:spPr>
        <p:txBody>
          <a:bodyPr tIns="0" anchor="t"/>
          <a:lstStyle>
            <a:lvl1pPr algn="r">
              <a:buNone/>
              <a:defRPr sz="4200" b="1" cap="all"/>
            </a:lvl1pPr>
            <a:extLst/>
          </a:lstStyle>
          <a:p>
            <a:r>
              <a:rPr kumimoji="0" lang="en-US" smtClean="0"/>
              <a:t>Click to edit Master title style</a:t>
            </a:r>
            <a:endParaRPr kumimoji="0"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66800" y="1905000"/>
            <a:ext cx="6255488" cy="743507"/>
          </a:xfrm>
        </p:spPr>
        <p:txBody>
          <a:bodyPr anchor="b"/>
          <a:lstStyle>
            <a:lvl1pPr marL="0" indent="0" algn="r">
              <a:buNone/>
              <a:defRPr sz="2000">
                <a:solidFill>
                  <a:schemeClr val="tx1"/>
                </a:solidFill>
                <a:effectLst/>
              </a:defRPr>
            </a:lvl1pPr>
            <a:lvl2pPr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extLst/>
          </a:lstStyle>
          <a:p>
            <a:pPr lvl="0" eaLnBrk="1" latinLnBrk="0" hangingPunct="1"/>
            <a:r>
              <a:rPr kumimoji="0"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724238" y="6556810"/>
            <a:ext cx="2002464" cy="226902"/>
          </a:xfrm>
        </p:spPr>
        <p:txBody>
          <a:bodyPr bIns="0" anchor="b"/>
          <a:lstStyle>
            <a:lvl1pPr>
              <a:defRPr>
                <a:solidFill>
                  <a:schemeClr val="tx2"/>
                </a:solidFill>
              </a:defRPr>
            </a:lvl1pPr>
            <a:extLst/>
          </a:lstStyle>
          <a:p>
            <a:fld id="{1D8BD707-D9CF-40AE-B4C6-C98DA3205C09}" type="datetimeFigureOut">
              <a:rPr lang="en-US" smtClean="0">
                <a:solidFill>
                  <a:srgbClr val="F0A22E">
                    <a:shade val="75000"/>
                  </a:srgbClr>
                </a:solidFill>
              </a:rPr>
              <a:pPr/>
              <a:t>13-Jun-22</a:t>
            </a:fld>
            <a:endParaRPr lang="en-US">
              <a:solidFill>
                <a:srgbClr val="F0A22E">
                  <a:shade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735358" y="6556810"/>
            <a:ext cx="2895600" cy="228600"/>
          </a:xfrm>
        </p:spPr>
        <p:txBody>
          <a:bodyPr bIns="0" anchor="b"/>
          <a:lstStyle>
            <a:lvl1pPr>
              <a:defRPr>
                <a:solidFill>
                  <a:schemeClr val="tx2"/>
                </a:solidFill>
              </a:defRPr>
            </a:lvl1pPr>
            <a:extLst/>
          </a:lstStyle>
          <a:p>
            <a:endParaRPr lang="en-US">
              <a:solidFill>
                <a:srgbClr val="F0A22E">
                  <a:shade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733952" y="6555112"/>
            <a:ext cx="588336" cy="228600"/>
          </a:xfrm>
        </p:spPr>
        <p:txBody>
          <a:bodyPr/>
          <a:lstStyle>
            <a:extLst/>
          </a:lstStyle>
          <a:p>
            <a:fld id="{B6F15528-21DE-4FAA-801E-634DDDAF4B2B}" type="slidenum">
              <a:rPr lang="en-US" smtClean="0">
                <a:solidFill>
                  <a:srgbClr val="F0A22E">
                    <a:shade val="75000"/>
                  </a:srgbClr>
                </a:solidFill>
              </a:rPr>
              <a:pPr/>
              <a:t>‹#›</a:t>
            </a:fld>
            <a:endParaRPr lang="en-US">
              <a:solidFill>
                <a:srgbClr val="F0A22E">
                  <a:shade val="75000"/>
                </a:srgbClr>
              </a:solidFill>
            </a:endParaRPr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  <p:transition spd="slow">
    <p:diamond/>
  </p:transition>
  <p:timing>
    <p:tnLst>
      <p:par>
        <p:cTn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320040"/>
            <a:ext cx="7242048" cy="1143000"/>
          </a:xfrm>
        </p:spPr>
        <p:txBody>
          <a:bodyPr/>
          <a:lstStyle>
            <a:extLst/>
          </a:lstStyle>
          <a:p>
            <a:r>
              <a:rPr kumimoji="0" lang="en-US" smtClean="0"/>
              <a:t>Click to edit Master title style</a:t>
            </a:r>
            <a:endParaRPr kumimoji="0"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3520440" cy="4525963"/>
          </a:xfrm>
        </p:spPr>
        <p:txBody>
          <a:bodyPr anchor="t"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extLst/>
          </a:lstStyle>
          <a:p>
            <a:pPr lvl="0" eaLnBrk="1" latinLnBrk="0" hangingPunct="1"/>
            <a:r>
              <a:rPr lang="en-US" smtClean="0"/>
              <a:t>Click to edit Master text styles</a:t>
            </a:r>
          </a:p>
          <a:p>
            <a:pPr lvl="1" eaLnBrk="1" latinLnBrk="0" hangingPunct="1"/>
            <a:r>
              <a:rPr lang="en-US" smtClean="0"/>
              <a:t>Second level</a:t>
            </a:r>
          </a:p>
          <a:p>
            <a:pPr lvl="2" eaLnBrk="1" latinLnBrk="0" hangingPunct="1"/>
            <a:r>
              <a:rPr lang="en-US" smtClean="0"/>
              <a:t>Third level</a:t>
            </a:r>
          </a:p>
          <a:p>
            <a:pPr lvl="3" eaLnBrk="1" latinLnBrk="0" hangingPunct="1"/>
            <a:r>
              <a:rPr lang="en-US" smtClean="0"/>
              <a:t>Fourth level</a:t>
            </a:r>
          </a:p>
          <a:p>
            <a:pPr lvl="4" eaLnBrk="1" latinLnBrk="0" hangingPunct="1"/>
            <a:r>
              <a:rPr lang="en-US" smtClean="0"/>
              <a:t>Fifth level</a:t>
            </a:r>
            <a:endParaRPr kumimoji="0"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178808" y="1600200"/>
            <a:ext cx="3520440" cy="4525963"/>
          </a:xfrm>
        </p:spPr>
        <p:txBody>
          <a:bodyPr anchor="t"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extLst/>
          </a:lstStyle>
          <a:p>
            <a:pPr lvl="0" eaLnBrk="1" latinLnBrk="0" hangingPunct="1"/>
            <a:r>
              <a:rPr lang="en-US" smtClean="0"/>
              <a:t>Click to edit Master text styles</a:t>
            </a:r>
          </a:p>
          <a:p>
            <a:pPr lvl="1" eaLnBrk="1" latinLnBrk="0" hangingPunct="1"/>
            <a:r>
              <a:rPr lang="en-US" smtClean="0"/>
              <a:t>Second level</a:t>
            </a:r>
          </a:p>
          <a:p>
            <a:pPr lvl="2" eaLnBrk="1" latinLnBrk="0" hangingPunct="1"/>
            <a:r>
              <a:rPr lang="en-US" smtClean="0"/>
              <a:t>Third level</a:t>
            </a:r>
          </a:p>
          <a:p>
            <a:pPr lvl="3" eaLnBrk="1" latinLnBrk="0" hangingPunct="1"/>
            <a:r>
              <a:rPr lang="en-US" smtClean="0"/>
              <a:t>Fourth level</a:t>
            </a:r>
          </a:p>
          <a:p>
            <a:pPr lvl="4" eaLnBrk="1" latinLnBrk="0" hangingPunct="1"/>
            <a:r>
              <a:rPr lang="en-US" smtClean="0"/>
              <a:t>Fifth level</a:t>
            </a:r>
            <a:endParaRPr kumimoji="0"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1D8BD707-D9CF-40AE-B4C6-C98DA3205C09}" type="datetimeFigureOut">
              <a:rPr lang="en-US" smtClean="0">
                <a:solidFill>
                  <a:srgbClr val="F0A22E">
                    <a:shade val="75000"/>
                  </a:srgbClr>
                </a:solidFill>
              </a:rPr>
              <a:pPr/>
              <a:t>13-Jun-22</a:t>
            </a:fld>
            <a:endParaRPr lang="en-US">
              <a:solidFill>
                <a:srgbClr val="F0A22E">
                  <a:shade val="75000"/>
                </a:srgb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en-US">
              <a:solidFill>
                <a:srgbClr val="F0A22E">
                  <a:shade val="75000"/>
                </a:srgb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B6F15528-21DE-4FAA-801E-634DDDAF4B2B}" type="slidenum">
              <a:rPr lang="en-US" smtClean="0">
                <a:solidFill>
                  <a:srgbClr val="F0A22E">
                    <a:shade val="75000"/>
                  </a:srgbClr>
                </a:solidFill>
              </a:rPr>
              <a:pPr/>
              <a:t>‹#›</a:t>
            </a:fld>
            <a:endParaRPr lang="en-US">
              <a:solidFill>
                <a:srgbClr val="F0A22E">
                  <a:shade val="75000"/>
                </a:srgbClr>
              </a:solidFill>
            </a:endParaRPr>
          </a:p>
        </p:txBody>
      </p:sp>
    </p:spTree>
  </p:cSld>
  <p:clrMapOvr>
    <a:masterClrMapping/>
  </p:clrMapOvr>
  <p:transition spd="slow">
    <p:diamond/>
  </p:transition>
  <p:timing>
    <p:tnLst>
      <p:par>
        <p:cTn id="1" dur="indefinite" restart="never" nodeType="tmRoot"/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320040"/>
            <a:ext cx="7242048" cy="1143000"/>
          </a:xfrm>
        </p:spPr>
        <p:txBody>
          <a:bodyPr anchor="b"/>
          <a:lstStyle>
            <a:lvl1pPr>
              <a:defRPr/>
            </a:lvl1pPr>
            <a:extLst/>
          </a:lstStyle>
          <a:p>
            <a:r>
              <a:rPr kumimoji="0" lang="en-US" smtClean="0"/>
              <a:t>Click to edit Master title style</a:t>
            </a:r>
            <a:endParaRPr kumimoji="0"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5867400"/>
            <a:ext cx="3520440" cy="457200"/>
          </a:xfrm>
          <a:noFill/>
          <a:ln w="12700" cap="flat" cmpd="sng" algn="ctr">
            <a:solidFill>
              <a:schemeClr val="tx2"/>
            </a:solidFill>
            <a:prstDash val="soli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 marL="0" indent="0" algn="ctr">
              <a:buNone/>
              <a:defRPr sz="1800" b="1">
                <a:solidFill>
                  <a:schemeClr val="tx2"/>
                </a:solidFill>
                <a:effectLst/>
              </a:defRPr>
            </a:lvl1pPr>
            <a:lvl2pPr>
              <a:buNone/>
              <a:defRPr sz="2000" b="1"/>
            </a:lvl2pPr>
            <a:lvl3pPr>
              <a:buNone/>
              <a:defRPr sz="1800" b="1"/>
            </a:lvl3pPr>
            <a:lvl4pPr>
              <a:buNone/>
              <a:defRPr sz="1600" b="1"/>
            </a:lvl4pPr>
            <a:lvl5pPr>
              <a:buNone/>
              <a:defRPr sz="1600" b="1"/>
            </a:lvl5pPr>
            <a:extLst/>
          </a:lstStyle>
          <a:p>
            <a:pPr lvl="0" eaLnBrk="1" latinLnBrk="0" hangingPunct="1"/>
            <a:r>
              <a:rPr kumimoji="0" lang="en-US" smtClean="0"/>
              <a:t>Click to edit Master text styles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3"/>
          </p:nvPr>
        </p:nvSpPr>
        <p:spPr>
          <a:xfrm>
            <a:off x="4178808" y="5867400"/>
            <a:ext cx="3520440" cy="457200"/>
          </a:xfrm>
          <a:noFill/>
          <a:ln w="12700" cap="flat" cmpd="sng" algn="ctr">
            <a:solidFill>
              <a:schemeClr val="tx2"/>
            </a:solidFill>
            <a:prstDash val="soli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anchor="ctr"/>
          <a:lstStyle>
            <a:lvl1pPr marL="0" indent="0" algn="ctr">
              <a:buNone/>
              <a:defRPr sz="1800" b="1">
                <a:solidFill>
                  <a:schemeClr val="tx2"/>
                </a:solidFill>
                <a:effectLst/>
              </a:defRPr>
            </a:lvl1pPr>
            <a:lvl2pPr>
              <a:buNone/>
              <a:defRPr sz="2000" b="1"/>
            </a:lvl2pPr>
            <a:lvl3pPr>
              <a:buNone/>
              <a:defRPr sz="1800" b="1"/>
            </a:lvl3pPr>
            <a:lvl4pPr>
              <a:buNone/>
              <a:defRPr sz="1600" b="1"/>
            </a:lvl4pPr>
            <a:lvl5pPr>
              <a:buNone/>
              <a:defRPr sz="1600" b="1"/>
            </a:lvl5pPr>
            <a:extLst/>
          </a:lstStyle>
          <a:p>
            <a:pPr lvl="0" eaLnBrk="1" latinLnBrk="0" hangingPunct="1"/>
            <a:r>
              <a:rPr kumimoji="0" lang="en-US" smtClean="0"/>
              <a:t>Click to edit Master text styles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2"/>
          </p:nvPr>
        </p:nvSpPr>
        <p:spPr>
          <a:xfrm>
            <a:off x="457200" y="1711840"/>
            <a:ext cx="3520440" cy="411480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extLst/>
          </a:lstStyle>
          <a:p>
            <a:pPr lvl="0" eaLnBrk="1" latinLnBrk="0" hangingPunct="1"/>
            <a:r>
              <a:rPr lang="en-US" smtClean="0"/>
              <a:t>Click to edit Master text styles</a:t>
            </a:r>
          </a:p>
          <a:p>
            <a:pPr lvl="1" eaLnBrk="1" latinLnBrk="0" hangingPunct="1"/>
            <a:r>
              <a:rPr lang="en-US" smtClean="0"/>
              <a:t>Second level</a:t>
            </a:r>
          </a:p>
          <a:p>
            <a:pPr lvl="2" eaLnBrk="1" latinLnBrk="0" hangingPunct="1"/>
            <a:r>
              <a:rPr lang="en-US" smtClean="0"/>
              <a:t>Third level</a:t>
            </a:r>
          </a:p>
          <a:p>
            <a:pPr lvl="3" eaLnBrk="1" latinLnBrk="0" hangingPunct="1"/>
            <a:r>
              <a:rPr lang="en-US" smtClean="0"/>
              <a:t>Fourth level</a:t>
            </a:r>
          </a:p>
          <a:p>
            <a:pPr lvl="4" eaLnBrk="1" latinLnBrk="0" hangingPunct="1"/>
            <a:r>
              <a:rPr lang="en-US" smtClean="0"/>
              <a:t>Fifth level</a:t>
            </a:r>
            <a:endParaRPr kumimoji="0" lang="en-US"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178808" y="1711840"/>
            <a:ext cx="3520440" cy="411480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extLst/>
          </a:lstStyle>
          <a:p>
            <a:pPr lvl="0" eaLnBrk="1" latinLnBrk="0" hangingPunct="1"/>
            <a:r>
              <a:rPr lang="en-US" smtClean="0"/>
              <a:t>Click to edit Master text styles</a:t>
            </a:r>
          </a:p>
          <a:p>
            <a:pPr lvl="1" eaLnBrk="1" latinLnBrk="0" hangingPunct="1"/>
            <a:r>
              <a:rPr lang="en-US" smtClean="0"/>
              <a:t>Second level</a:t>
            </a:r>
          </a:p>
          <a:p>
            <a:pPr lvl="2" eaLnBrk="1" latinLnBrk="0" hangingPunct="1"/>
            <a:r>
              <a:rPr lang="en-US" smtClean="0"/>
              <a:t>Third level</a:t>
            </a:r>
          </a:p>
          <a:p>
            <a:pPr lvl="3" eaLnBrk="1" latinLnBrk="0" hangingPunct="1"/>
            <a:r>
              <a:rPr lang="en-US" smtClean="0"/>
              <a:t>Fourth level</a:t>
            </a:r>
          </a:p>
          <a:p>
            <a:pPr lvl="4" eaLnBrk="1" latinLnBrk="0" hangingPunct="1"/>
            <a:r>
              <a:rPr lang="en-US" smtClean="0"/>
              <a:t>Fifth level</a:t>
            </a:r>
            <a:endParaRPr kumimoji="0"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1D8BD707-D9CF-40AE-B4C6-C98DA3205C09}" type="datetimeFigureOut">
              <a:rPr lang="en-US" smtClean="0">
                <a:solidFill>
                  <a:srgbClr val="F0A22E">
                    <a:shade val="75000"/>
                  </a:srgbClr>
                </a:solidFill>
              </a:rPr>
              <a:pPr/>
              <a:t>13-Jun-22</a:t>
            </a:fld>
            <a:endParaRPr lang="en-US">
              <a:solidFill>
                <a:srgbClr val="F0A22E">
                  <a:shade val="75000"/>
                </a:srgb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en-US">
              <a:solidFill>
                <a:srgbClr val="F0A22E">
                  <a:shade val="75000"/>
                </a:srgb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B6F15528-21DE-4FAA-801E-634DDDAF4B2B}" type="slidenum">
              <a:rPr lang="en-US" smtClean="0">
                <a:solidFill>
                  <a:srgbClr val="F0A22E">
                    <a:shade val="75000"/>
                  </a:srgbClr>
                </a:solidFill>
              </a:rPr>
              <a:pPr/>
              <a:t>‹#›</a:t>
            </a:fld>
            <a:endParaRPr lang="en-US">
              <a:solidFill>
                <a:srgbClr val="F0A22E">
                  <a:shade val="75000"/>
                </a:srgbClr>
              </a:solidFill>
            </a:endParaRPr>
          </a:p>
        </p:txBody>
      </p:sp>
    </p:spTree>
  </p:cSld>
  <p:clrMapOvr>
    <a:masterClrMapping/>
  </p:clrMapOvr>
  <p:transition spd="slow">
    <p:diamond/>
  </p:transition>
  <p:timing>
    <p:tnLst>
      <p:par>
        <p:cTn id="1" dur="indefinite" restart="never" nodeType="tmRoot"/>
      </p:par>
    </p:tn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320040"/>
            <a:ext cx="7242048" cy="1143000"/>
          </a:xfrm>
        </p:spPr>
        <p:txBody>
          <a:bodyPr/>
          <a:lstStyle>
            <a:extLst/>
          </a:lstStyle>
          <a:p>
            <a:r>
              <a:rPr kumimoji="0" lang="en-US" smtClean="0"/>
              <a:t>Click to edit Master title style</a:t>
            </a:r>
            <a:endParaRPr kumimoji="0"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1D8BD707-D9CF-40AE-B4C6-C98DA3205C09}" type="datetimeFigureOut">
              <a:rPr lang="en-US" smtClean="0">
                <a:solidFill>
                  <a:srgbClr val="F0A22E">
                    <a:shade val="75000"/>
                  </a:srgbClr>
                </a:solidFill>
              </a:rPr>
              <a:pPr/>
              <a:t>13-Jun-22</a:t>
            </a:fld>
            <a:endParaRPr lang="en-US">
              <a:solidFill>
                <a:srgbClr val="F0A22E">
                  <a:shade val="75000"/>
                </a:srgb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en-US">
              <a:solidFill>
                <a:srgbClr val="F0A22E">
                  <a:shade val="75000"/>
                </a:srgb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B6F15528-21DE-4FAA-801E-634DDDAF4B2B}" type="slidenum">
              <a:rPr lang="en-US" smtClean="0">
                <a:solidFill>
                  <a:srgbClr val="F0A22E">
                    <a:shade val="75000"/>
                  </a:srgbClr>
                </a:solidFill>
              </a:rPr>
              <a:pPr/>
              <a:t>‹#›</a:t>
            </a:fld>
            <a:endParaRPr lang="en-US">
              <a:solidFill>
                <a:srgbClr val="F0A22E">
                  <a:shade val="75000"/>
                </a:srgbClr>
              </a:solidFill>
            </a:endParaRPr>
          </a:p>
        </p:txBody>
      </p:sp>
    </p:spTree>
  </p:cSld>
  <p:clrMapOvr>
    <a:masterClrMapping/>
  </p:clrMapOvr>
  <p:transition spd="slow">
    <p:diamond/>
  </p:transition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339E2F8-3C53-43AC-AD33-2EC644AEB2BE}" type="datetimeFigureOut">
              <a:rPr lang="en-US" smtClean="0"/>
              <a:t>13-Jun-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D59129-E287-4EBC-8723-7CB46D09F70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29438523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  <a:extLst/>
          </a:lstStyle>
          <a:p>
            <a:fld id="{1D8BD707-D9CF-40AE-B4C6-C98DA3205C09}" type="datetimeFigureOut">
              <a:rPr lang="en-US" smtClean="0">
                <a:solidFill>
                  <a:srgbClr val="F0A22E">
                    <a:shade val="75000"/>
                  </a:srgbClr>
                </a:solidFill>
              </a:rPr>
              <a:pPr/>
              <a:t>13-Jun-22</a:t>
            </a:fld>
            <a:endParaRPr lang="en-US">
              <a:solidFill>
                <a:srgbClr val="F0A22E">
                  <a:shade val="75000"/>
                </a:srgb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  <a:extLst/>
          </a:lstStyle>
          <a:p>
            <a:endParaRPr lang="en-US">
              <a:solidFill>
                <a:srgbClr val="F0A22E">
                  <a:shade val="75000"/>
                </a:srgb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B6F15528-21DE-4FAA-801E-634DDDAF4B2B}" type="slidenum">
              <a:rPr lang="en-US" smtClean="0">
                <a:solidFill>
                  <a:srgbClr val="F0A22E">
                    <a:shade val="75000"/>
                  </a:srgbClr>
                </a:solidFill>
              </a:rPr>
              <a:pPr/>
              <a:t>‹#›</a:t>
            </a:fld>
            <a:endParaRPr lang="en-US">
              <a:solidFill>
                <a:srgbClr val="F0A22E">
                  <a:shade val="75000"/>
                </a:srgbClr>
              </a:solidFill>
            </a:endParaRPr>
          </a:p>
        </p:txBody>
      </p:sp>
    </p:spTree>
  </p:cSld>
  <p:clrMapOvr>
    <a:masterClrMapping/>
  </p:clrMapOvr>
  <p:transition spd="slow">
    <p:diamond/>
  </p:transition>
  <p:timing>
    <p:tnLst>
      <p:par>
        <p:cTn id="1" dur="indefinite" restart="never" nodeType="tmRoot"/>
      </p:par>
    </p:tnLst>
  </p:timing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28600"/>
            <a:ext cx="5897880" cy="1173480"/>
          </a:xfrm>
        </p:spPr>
        <p:txBody>
          <a:bodyPr wrap="square" anchor="b"/>
          <a:lstStyle>
            <a:lvl1pPr algn="l">
              <a:buNone/>
              <a:defRPr lang="en-US" sz="2400" baseline="0" smtClean="0"/>
            </a:lvl1pPr>
            <a:extLst/>
          </a:lstStyle>
          <a:p>
            <a:r>
              <a:rPr kumimoji="0" lang="en-US" smtClean="0"/>
              <a:t>Click to edit Master title style</a:t>
            </a:r>
            <a:endParaRPr kumimoji="0"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2"/>
          </p:nvPr>
        </p:nvSpPr>
        <p:spPr>
          <a:xfrm>
            <a:off x="457200" y="1497416"/>
            <a:ext cx="5897880" cy="602512"/>
          </a:xfrm>
        </p:spPr>
        <p:txBody>
          <a:bodyPr rot="0" spcFirstLastPara="0" vertOverflow="overflow" horzOverflow="overflow" vert="horz" wrap="square" lIns="45720" tIns="0" rIns="0" bIns="0" numCol="1" spcCol="0" rtlCol="0" fromWordArt="0" anchor="t" anchorCtr="0" forceAA="0" compatLnSpc="1">
            <a:norm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400"/>
            </a:lvl1pPr>
            <a:lvl2pPr>
              <a:buNone/>
              <a:defRPr sz="1200"/>
            </a:lvl2pPr>
            <a:lvl3pPr>
              <a:buNone/>
              <a:defRPr sz="1000"/>
            </a:lvl3pPr>
            <a:lvl4pPr>
              <a:buNone/>
              <a:defRPr sz="900"/>
            </a:lvl4pPr>
            <a:lvl5pPr>
              <a:buNone/>
              <a:defRPr sz="900"/>
            </a:lvl5pPr>
            <a:extLst/>
          </a:lstStyle>
          <a:p>
            <a:pPr lvl="0" eaLnBrk="1" latinLnBrk="0" hangingPunct="1"/>
            <a:r>
              <a:rPr kumimoji="0"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1"/>
          </p:nvPr>
        </p:nvSpPr>
        <p:spPr>
          <a:xfrm>
            <a:off x="457200" y="2133600"/>
            <a:ext cx="7239000" cy="4371752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extLst/>
          </a:lstStyle>
          <a:p>
            <a:pPr lvl="0" eaLnBrk="1" latinLnBrk="0" hangingPunct="1"/>
            <a:r>
              <a:rPr lang="en-US" smtClean="0"/>
              <a:t>Click to edit Master text styles</a:t>
            </a:r>
          </a:p>
          <a:p>
            <a:pPr lvl="1" eaLnBrk="1" latinLnBrk="0" hangingPunct="1"/>
            <a:r>
              <a:rPr lang="en-US" smtClean="0"/>
              <a:t>Second level</a:t>
            </a:r>
          </a:p>
          <a:p>
            <a:pPr lvl="2" eaLnBrk="1" latinLnBrk="0" hangingPunct="1"/>
            <a:r>
              <a:rPr lang="en-US" smtClean="0"/>
              <a:t>Third level</a:t>
            </a:r>
          </a:p>
          <a:p>
            <a:pPr lvl="3" eaLnBrk="1" latinLnBrk="0" hangingPunct="1"/>
            <a:r>
              <a:rPr lang="en-US" smtClean="0"/>
              <a:t>Fourth level</a:t>
            </a:r>
          </a:p>
          <a:p>
            <a:pPr lvl="4" eaLnBrk="1" latinLnBrk="0" hangingPunct="1"/>
            <a:r>
              <a:rPr lang="en-US" smtClean="0"/>
              <a:t>Fifth level</a:t>
            </a:r>
            <a:endParaRPr kumimoji="0"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1D8BD707-D9CF-40AE-B4C6-C98DA3205C09}" type="datetimeFigureOut">
              <a:rPr lang="en-US" smtClean="0">
                <a:solidFill>
                  <a:srgbClr val="F0A22E">
                    <a:shade val="75000"/>
                  </a:srgbClr>
                </a:solidFill>
              </a:rPr>
              <a:pPr/>
              <a:t>13-Jun-22</a:t>
            </a:fld>
            <a:endParaRPr lang="en-US">
              <a:solidFill>
                <a:srgbClr val="F0A22E">
                  <a:shade val="75000"/>
                </a:srgb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en-US">
              <a:solidFill>
                <a:srgbClr val="F0A22E">
                  <a:shade val="75000"/>
                </a:srgb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B6F15528-21DE-4FAA-801E-634DDDAF4B2B}" type="slidenum">
              <a:rPr lang="en-US" smtClean="0">
                <a:solidFill>
                  <a:srgbClr val="F0A22E">
                    <a:shade val="75000"/>
                  </a:srgbClr>
                </a:solidFill>
              </a:rPr>
              <a:pPr/>
              <a:t>‹#›</a:t>
            </a:fld>
            <a:endParaRPr lang="en-US">
              <a:solidFill>
                <a:srgbClr val="F0A22E">
                  <a:shade val="75000"/>
                </a:srgbClr>
              </a:solidFill>
            </a:endParaRPr>
          </a:p>
        </p:txBody>
      </p:sp>
    </p:spTree>
  </p:cSld>
  <p:clrMapOvr>
    <a:masterClrMapping/>
  </p:clrMapOvr>
  <p:transition spd="slow">
    <p:diamond/>
  </p:transition>
  <p:timing>
    <p:tnLst>
      <p:par>
        <p:cTn id="1" dur="indefinite" restart="never" nodeType="tmRoot"/>
      </p:par>
    </p:tnLst>
  </p:timing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bg>
      <p:bgRef idx="1002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 rot="21240000">
            <a:off x="597968" y="1004668"/>
            <a:ext cx="4319527" cy="4312573"/>
          </a:xfrm>
          <a:prstGeom prst="rect">
            <a:avLst/>
          </a:prstGeom>
          <a:solidFill>
            <a:srgbClr val="FAFAFA"/>
          </a:solidFill>
          <a:ln w="1270" cap="rnd" cmpd="sng" algn="ctr">
            <a:solidFill>
              <a:srgbClr val="EAEAEA"/>
            </a:solidFill>
            <a:prstDash val="solid"/>
          </a:ln>
          <a:effectLst>
            <a:outerShdw blurRad="25000" dist="12700" dir="5400000" algn="t" rotWithShape="0">
              <a:srgbClr val="000000">
                <a:alpha val="40000"/>
              </a:srgbClr>
            </a:outerShdw>
          </a:effectLst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extLst/>
          </a:lstStyle>
          <a:p>
            <a:pPr algn="ctr" eaLnBrk="1" latinLnBrk="0" hangingPunct="1"/>
            <a:endParaRPr kumimoji="0" lang="en-US"/>
          </a:p>
        </p:txBody>
      </p:sp>
      <p:sp>
        <p:nvSpPr>
          <p:cNvPr id="9" name="Rectangle 8"/>
          <p:cNvSpPr/>
          <p:nvPr/>
        </p:nvSpPr>
        <p:spPr>
          <a:xfrm rot="21420000">
            <a:off x="596706" y="998816"/>
            <a:ext cx="4319527" cy="4312573"/>
          </a:xfrm>
          <a:prstGeom prst="rect">
            <a:avLst/>
          </a:prstGeom>
          <a:solidFill>
            <a:srgbClr val="FAFAFA"/>
          </a:solidFill>
          <a:ln w="1270" cap="rnd" cmpd="sng" algn="ctr">
            <a:solidFill>
              <a:srgbClr val="EAEAEA"/>
            </a:solidFill>
            <a:prstDash val="solid"/>
          </a:ln>
          <a:effectLst>
            <a:outerShdw blurRad="28000" dist="12700" dir="5400000" algn="tl" rotWithShape="0">
              <a:srgbClr val="000000">
                <a:alpha val="40000"/>
              </a:srgbClr>
            </a:outerShdw>
          </a:effectLst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extLst/>
          </a:lstStyle>
          <a:p>
            <a:pPr algn="ctr" eaLnBrk="1" latinLnBrk="0" hangingPunct="1"/>
            <a:endParaRPr kumimoji="0"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89098" y="1143000"/>
            <a:ext cx="3429000" cy="2057400"/>
          </a:xfrm>
        </p:spPr>
        <p:txBody>
          <a:bodyPr vert="horz" anchor="b"/>
          <a:lstStyle>
            <a:lvl1pPr algn="l">
              <a:buNone/>
              <a:defRPr sz="3000" b="1" baseline="0">
                <a:ln w="500">
                  <a:solidFill>
                    <a:schemeClr val="tx2">
                      <a:shade val="10000"/>
                      <a:satMod val="135000"/>
                    </a:schemeClr>
                  </a:solidFill>
                </a:ln>
                <a:gradFill>
                  <a:gsLst>
                    <a:gs pos="0">
                      <a:schemeClr val="accent4">
                        <a:tint val="13000"/>
                      </a:schemeClr>
                    </a:gs>
                    <a:gs pos="10000">
                      <a:schemeClr val="accent4">
                        <a:tint val="20000"/>
                      </a:schemeClr>
                    </a:gs>
                    <a:gs pos="49000">
                      <a:schemeClr val="accent4">
                        <a:tint val="70000"/>
                      </a:schemeClr>
                    </a:gs>
                    <a:gs pos="50000">
                      <a:schemeClr val="accent4">
                        <a:tint val="97000"/>
                      </a:schemeClr>
                    </a:gs>
                    <a:gs pos="100000">
                      <a:schemeClr val="accent4">
                        <a:tint val="20000"/>
                      </a:schemeClr>
                    </a:gs>
                  </a:gsLst>
                  <a:lin ang="5400000" scaled="1"/>
                </a:gradFill>
                <a:effectLst/>
              </a:defRPr>
            </a:lvl1pPr>
            <a:extLst/>
          </a:lstStyle>
          <a:p>
            <a:r>
              <a:rPr kumimoji="0" lang="en-US" smtClean="0"/>
              <a:t>Click to edit Master title style</a:t>
            </a:r>
            <a:endParaRPr kumimoji="0"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5389098" y="3283634"/>
            <a:ext cx="3429000" cy="1920240"/>
          </a:xfrm>
        </p:spPr>
        <p:txBody>
          <a:bodyPr rot="0" spcFirstLastPara="0" vertOverflow="overflow" horzOverflow="overflow" vert="horz" wrap="square" lIns="82296" tIns="0" rIns="0" bIns="0" numCol="1" spcCol="0" rtlCol="0" fromWordArt="0" anchor="t" anchorCtr="0" forceAA="0" compatLnSpc="1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aseline="0">
                <a:solidFill>
                  <a:schemeClr val="tx1"/>
                </a:solidFill>
              </a:defRPr>
            </a:lvl1pPr>
            <a:lvl2pPr>
              <a:defRPr sz="1200"/>
            </a:lvl2pPr>
            <a:lvl3pPr>
              <a:defRPr sz="1000"/>
            </a:lvl3pPr>
            <a:lvl4pPr>
              <a:defRPr sz="900"/>
            </a:lvl4pPr>
            <a:lvl5pPr>
              <a:defRPr sz="900"/>
            </a:lvl5pPr>
            <a:extLst/>
          </a:lstStyle>
          <a:p>
            <a:pPr marL="0" marR="0" lvl="0" indent="0" algn="l" defTabSz="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73000"/>
              <a:buFontTx/>
              <a:buNone/>
              <a:tabLst/>
              <a:defRPr/>
            </a:pPr>
            <a:r>
              <a:rPr kumimoji="0"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1D8BD707-D9CF-40AE-B4C6-C98DA3205C09}" type="datetimeFigureOut">
              <a:rPr lang="en-US" smtClean="0">
                <a:solidFill>
                  <a:srgbClr val="F0A22E">
                    <a:shade val="75000"/>
                  </a:srgbClr>
                </a:solidFill>
              </a:rPr>
              <a:pPr/>
              <a:t>13-Jun-22</a:t>
            </a:fld>
            <a:endParaRPr lang="en-US">
              <a:solidFill>
                <a:srgbClr val="F0A22E">
                  <a:shade val="75000"/>
                </a:srgb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en-US">
              <a:solidFill>
                <a:srgbClr val="F0A22E">
                  <a:shade val="75000"/>
                </a:srgb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B6F15528-21DE-4FAA-801E-634DDDAF4B2B}" type="slidenum">
              <a:rPr lang="en-US" smtClean="0">
                <a:solidFill>
                  <a:srgbClr val="F0A22E">
                    <a:shade val="75000"/>
                  </a:srgbClr>
                </a:solidFill>
              </a:rPr>
              <a:pPr/>
              <a:t>‹#›</a:t>
            </a:fld>
            <a:endParaRPr lang="en-US">
              <a:solidFill>
                <a:srgbClr val="F0A22E">
                  <a:shade val="75000"/>
                </a:srgbClr>
              </a:solidFill>
            </a:endParaRPr>
          </a:p>
        </p:txBody>
      </p:sp>
      <p:sp>
        <p:nvSpPr>
          <p:cNvPr id="10" name="Picture Placeholder 9"/>
          <p:cNvSpPr>
            <a:spLocks noGrp="1"/>
          </p:cNvSpPr>
          <p:nvPr>
            <p:ph type="pic" idx="1"/>
          </p:nvPr>
        </p:nvSpPr>
        <p:spPr>
          <a:xfrm>
            <a:off x="663682" y="1041002"/>
            <a:ext cx="4206240" cy="4206240"/>
          </a:xfrm>
          <a:solidFill>
            <a:schemeClr val="bg2">
              <a:shade val="50000"/>
            </a:schemeClr>
          </a:solidFill>
          <a:ln w="107950">
            <a:solidFill>
              <a:srgbClr val="FFFFFF"/>
            </a:solidFill>
            <a:miter lim="800000"/>
          </a:ln>
          <a:effectLst>
            <a:outerShdw blurRad="44450" dist="3810" dir="5400000" algn="tl" rotWithShape="0">
              <a:srgbClr val="000000">
                <a:alpha val="60000"/>
              </a:srgbClr>
            </a:outerShdw>
          </a:effectLst>
          <a:scene3d>
            <a:camera prst="orthographicFront"/>
            <a:lightRig rig="threePt" dir="t"/>
          </a:scene3d>
          <a:sp3d contourW="3810">
            <a:contourClr>
              <a:srgbClr val="969696"/>
            </a:contourClr>
          </a:sp3d>
        </p:spPr>
        <p:txBody>
          <a:bodyPr/>
          <a:lstStyle>
            <a:lvl1pPr marL="0" indent="0">
              <a:buNone/>
              <a:defRPr sz="3200"/>
            </a:lvl1pPr>
            <a:extLst/>
          </a:lstStyle>
          <a:p>
            <a:r>
              <a:rPr kumimoji="0" lang="en-US" smtClean="0"/>
              <a:t>Click icon to add picture</a:t>
            </a:r>
            <a:endParaRPr kumimoji="0" lang="en-US" dirty="0"/>
          </a:p>
        </p:txBody>
      </p:sp>
    </p:spTree>
  </p:cSld>
  <p:clrMapOvr>
    <a:overrideClrMapping bg1="dk1" tx1="lt1" bg2="dk2" tx2="lt2" accent1="accent1" accent2="accent2" accent3="accent3" accent4="accent4" accent5="accent5" accent6="accent6" hlink="hlink" folHlink="folHlink"/>
  </p:clrMapOvr>
  <p:transition spd="slow">
    <p:diamond/>
  </p:transition>
  <p:timing>
    <p:tnLst>
      <p:par>
        <p:cTn id="1" dur="indefinite" restart="never" nodeType="tmRoot"/>
      </p:par>
    </p:tnLst>
  </p:timing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extLst/>
          </a:lstStyle>
          <a:p>
            <a:r>
              <a:rPr kumimoji="0" lang="en-US" smtClean="0"/>
              <a:t>Click to edit Master title style</a:t>
            </a:r>
            <a:endParaRPr kumimoji="0"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>
            <a:extLst/>
          </a:lstStyle>
          <a:p>
            <a:pPr lvl="0" eaLnBrk="1" latinLnBrk="0" hangingPunct="1"/>
            <a:r>
              <a:rPr lang="en-US" smtClean="0"/>
              <a:t>Click to edit Master text styles</a:t>
            </a:r>
          </a:p>
          <a:p>
            <a:pPr lvl="1" eaLnBrk="1" latinLnBrk="0" hangingPunct="1"/>
            <a:r>
              <a:rPr lang="en-US" smtClean="0"/>
              <a:t>Second level</a:t>
            </a:r>
          </a:p>
          <a:p>
            <a:pPr lvl="2" eaLnBrk="1" latinLnBrk="0" hangingPunct="1"/>
            <a:r>
              <a:rPr lang="en-US" smtClean="0"/>
              <a:t>Third level</a:t>
            </a:r>
          </a:p>
          <a:p>
            <a:pPr lvl="3" eaLnBrk="1" latinLnBrk="0" hangingPunct="1"/>
            <a:r>
              <a:rPr lang="en-US" smtClean="0"/>
              <a:t>Fourth level</a:t>
            </a:r>
          </a:p>
          <a:p>
            <a:pPr lvl="4" eaLnBrk="1" latinLnBrk="0" hangingPunct="1"/>
            <a:r>
              <a:rPr lang="en-US" smtClean="0"/>
              <a:t>Fifth level</a:t>
            </a:r>
            <a:endParaRPr kumimoji="0"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1D8BD707-D9CF-40AE-B4C6-C98DA3205C09}" type="datetimeFigureOut">
              <a:rPr lang="en-US" smtClean="0">
                <a:solidFill>
                  <a:srgbClr val="F0A22E">
                    <a:shade val="75000"/>
                  </a:srgbClr>
                </a:solidFill>
              </a:rPr>
              <a:pPr/>
              <a:t>13-Jun-22</a:t>
            </a:fld>
            <a:endParaRPr lang="en-US">
              <a:solidFill>
                <a:srgbClr val="F0A22E">
                  <a:shade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en-US">
              <a:solidFill>
                <a:srgbClr val="F0A22E">
                  <a:shade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B6F15528-21DE-4FAA-801E-634DDDAF4B2B}" type="slidenum">
              <a:rPr lang="en-US" smtClean="0">
                <a:solidFill>
                  <a:srgbClr val="F0A22E">
                    <a:shade val="75000"/>
                  </a:srgbClr>
                </a:solidFill>
              </a:rPr>
              <a:pPr/>
              <a:t>‹#›</a:t>
            </a:fld>
            <a:endParaRPr lang="en-US">
              <a:solidFill>
                <a:srgbClr val="F0A22E">
                  <a:shade val="75000"/>
                </a:srgbClr>
              </a:solidFill>
            </a:endParaRPr>
          </a:p>
        </p:txBody>
      </p:sp>
    </p:spTree>
  </p:cSld>
  <p:clrMapOvr>
    <a:masterClrMapping/>
  </p:clrMapOvr>
  <p:transition spd="slow">
    <p:diamond/>
  </p:transition>
  <p:timing>
    <p:tnLst>
      <p:par>
        <p:cTn id="1" dur="indefinite" restart="never" nodeType="tmRoot"/>
      </p:par>
    </p:tnLst>
  </p:timing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53200" y="274955"/>
            <a:ext cx="1524000" cy="5851525"/>
          </a:xfrm>
        </p:spPr>
        <p:txBody>
          <a:bodyPr vert="eaVert" anchor="t"/>
          <a:lstStyle>
            <a:extLst/>
          </a:lstStyle>
          <a:p>
            <a:r>
              <a:rPr kumimoji="0" lang="en-US" smtClean="0"/>
              <a:t>Click to edit Master title style</a:t>
            </a:r>
            <a:endParaRPr kumimoji="0"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42"/>
            <a:ext cx="6019800" cy="5851525"/>
          </a:xfrm>
        </p:spPr>
        <p:txBody>
          <a:bodyPr vert="eaVert"/>
          <a:lstStyle>
            <a:extLst/>
          </a:lstStyle>
          <a:p>
            <a:pPr lvl="0" eaLnBrk="1" latinLnBrk="0" hangingPunct="1"/>
            <a:r>
              <a:rPr lang="en-US" smtClean="0"/>
              <a:t>Click to edit Master text styles</a:t>
            </a:r>
          </a:p>
          <a:p>
            <a:pPr lvl="1" eaLnBrk="1" latinLnBrk="0" hangingPunct="1"/>
            <a:r>
              <a:rPr lang="en-US" smtClean="0"/>
              <a:t>Second level</a:t>
            </a:r>
          </a:p>
          <a:p>
            <a:pPr lvl="2" eaLnBrk="1" latinLnBrk="0" hangingPunct="1"/>
            <a:r>
              <a:rPr lang="en-US" smtClean="0"/>
              <a:t>Third level</a:t>
            </a:r>
          </a:p>
          <a:p>
            <a:pPr lvl="3" eaLnBrk="1" latinLnBrk="0" hangingPunct="1"/>
            <a:r>
              <a:rPr lang="en-US" smtClean="0"/>
              <a:t>Fourth level</a:t>
            </a:r>
          </a:p>
          <a:p>
            <a:pPr lvl="4" eaLnBrk="1" latinLnBrk="0" hangingPunct="1"/>
            <a:r>
              <a:rPr lang="en-US" smtClean="0"/>
              <a:t>Fifth level</a:t>
            </a:r>
            <a:endParaRPr kumimoji="0"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242816" y="6557946"/>
            <a:ext cx="2002464" cy="226902"/>
          </a:xfrm>
        </p:spPr>
        <p:txBody>
          <a:bodyPr/>
          <a:lstStyle>
            <a:extLst/>
          </a:lstStyle>
          <a:p>
            <a:fld id="{1D8BD707-D9CF-40AE-B4C6-C98DA3205C09}" type="datetimeFigureOut">
              <a:rPr lang="en-US" smtClean="0">
                <a:solidFill>
                  <a:srgbClr val="F0A22E">
                    <a:shade val="75000"/>
                  </a:srgbClr>
                </a:solidFill>
              </a:rPr>
              <a:pPr/>
              <a:t>13-Jun-22</a:t>
            </a:fld>
            <a:endParaRPr lang="en-US">
              <a:solidFill>
                <a:srgbClr val="F0A22E">
                  <a:shade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57200" y="6556248"/>
            <a:ext cx="3657600" cy="228600"/>
          </a:xfrm>
        </p:spPr>
        <p:txBody>
          <a:bodyPr/>
          <a:lstStyle>
            <a:extLst/>
          </a:lstStyle>
          <a:p>
            <a:endParaRPr lang="en-US">
              <a:solidFill>
                <a:srgbClr val="F0A22E">
                  <a:shade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254496" y="6553200"/>
            <a:ext cx="588336" cy="22860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  <a:extLst/>
          </a:lstStyle>
          <a:p>
            <a:fld id="{B6F15528-21DE-4FAA-801E-634DDDAF4B2B}" type="slidenum">
              <a:rPr lang="en-US" smtClean="0">
                <a:solidFill>
                  <a:srgbClr val="F0A22E">
                    <a:shade val="75000"/>
                  </a:srgbClr>
                </a:solidFill>
              </a:rPr>
              <a:pPr/>
              <a:t>‹#›</a:t>
            </a:fld>
            <a:endParaRPr lang="en-US">
              <a:solidFill>
                <a:srgbClr val="F0A22E">
                  <a:shade val="75000"/>
                </a:srgbClr>
              </a:solidFill>
            </a:endParaRPr>
          </a:p>
        </p:txBody>
      </p:sp>
    </p:spTree>
  </p:cSld>
  <p:clrMapOvr>
    <a:masterClrMapping/>
  </p:clrMapOvr>
  <p:transition spd="slow">
    <p:diamond/>
  </p:transition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339E2F8-3C53-43AC-AD33-2EC644AEB2BE}" type="datetimeFigureOut">
              <a:rPr lang="en-US" smtClean="0"/>
              <a:t>13-Jun-2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D59129-E287-4EBC-8723-7CB46D09F70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5499676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339E2F8-3C53-43AC-AD33-2EC644AEB2BE}" type="datetimeFigureOut">
              <a:rPr lang="en-US" smtClean="0"/>
              <a:t>13-Jun-22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D59129-E287-4EBC-8723-7CB46D09F70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9122512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339E2F8-3C53-43AC-AD33-2EC644AEB2BE}" type="datetimeFigureOut">
              <a:rPr lang="en-US" smtClean="0"/>
              <a:t>13-Jun-22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D59129-E287-4EBC-8723-7CB46D09F70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3969275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339E2F8-3C53-43AC-AD33-2EC644AEB2BE}" type="datetimeFigureOut">
              <a:rPr lang="en-US" smtClean="0"/>
              <a:t>13-Jun-22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D59129-E287-4EBC-8723-7CB46D09F70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8657120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339E2F8-3C53-43AC-AD33-2EC644AEB2BE}" type="datetimeFigureOut">
              <a:rPr lang="en-US" smtClean="0"/>
              <a:t>13-Jun-2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D59129-E287-4EBC-8723-7CB46D09F70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228269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339E2F8-3C53-43AC-AD33-2EC644AEB2BE}" type="datetimeFigureOut">
              <a:rPr lang="en-US" smtClean="0"/>
              <a:t>13-Jun-2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D59129-E287-4EBC-8723-7CB46D09F70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3026180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1.xml"/><Relationship Id="rId13" Type="http://schemas.openxmlformats.org/officeDocument/2006/relationships/image" Target="../media/image2.jpeg"/><Relationship Id="rId3" Type="http://schemas.openxmlformats.org/officeDocument/2006/relationships/slideLayout" Target="../slideLayouts/slideLayout26.xml"/><Relationship Id="rId7" Type="http://schemas.openxmlformats.org/officeDocument/2006/relationships/slideLayout" Target="../slideLayouts/slideLayout30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25.xml"/><Relationship Id="rId1" Type="http://schemas.openxmlformats.org/officeDocument/2006/relationships/slideLayout" Target="../slideLayouts/slideLayout24.xml"/><Relationship Id="rId6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34.xml"/><Relationship Id="rId5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33.xml"/><Relationship Id="rId4" Type="http://schemas.openxmlformats.org/officeDocument/2006/relationships/slideLayout" Target="../slideLayouts/slideLayout27.xml"/><Relationship Id="rId9" Type="http://schemas.openxmlformats.org/officeDocument/2006/relationships/slideLayout" Target="../slideLayouts/slideLayout3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339E2F8-3C53-43AC-AD33-2EC644AEB2BE}" type="datetimeFigureOut">
              <a:rPr lang="en-US" smtClean="0"/>
              <a:t>13-Jun-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CD59129-E287-4EBC-8723-7CB46D09F70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986278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2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8665668-32AA-45F3-8E85-8E4AA592C84A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3-Jun-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8D07984-CD28-4D3E-9B88-BCF42D71AB42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308030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/>
        </p:nvSpPr>
        <p:spPr>
          <a:xfrm flipH="1">
            <a:off x="8153400" y="0"/>
            <a:ext cx="990600" cy="6858000"/>
          </a:xfrm>
          <a:prstGeom prst="rect">
            <a:avLst/>
          </a:prstGeom>
          <a:blipFill>
            <a:blip r:embed="rId13">
              <a:alphaModFix amt="43000"/>
            </a:blip>
            <a:tile tx="0" ty="0" sx="50000" sy="50000" flip="none" algn="tl"/>
          </a:blipFill>
          <a:ln w="0" cap="flat" cmpd="sng" algn="ctr">
            <a:noFill/>
            <a:prstDash val="solid"/>
          </a:ln>
          <a:effectLst>
            <a:fillOverlay blend="mult">
              <a:gradFill rotWithShape="1">
                <a:gsLst>
                  <a:gs pos="0">
                    <a:schemeClr val="tx2">
                      <a:tint val="62000"/>
                      <a:satMod val="420000"/>
                    </a:schemeClr>
                  </a:gs>
                  <a:gs pos="100000">
                    <a:schemeClr val="tx2">
                      <a:shade val="20000"/>
                      <a:satMod val="170000"/>
                    </a:schemeClr>
                  </a:gs>
                </a:gsLst>
                <a:path path="circle">
                  <a:fillToRect l="50000" t="110000" r="50000" b="-10000"/>
                </a:path>
                <a:tileRect/>
              </a:gradFill>
            </a:fillOverlay>
            <a:innerShdw blurRad="63500" dist="44450" dir="10800000">
              <a:srgbClr val="000000">
                <a:alpha val="45000"/>
              </a:srgbClr>
            </a:innerShdw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 eaLnBrk="1" latinLnBrk="0" hangingPunct="1"/>
            <a:endParaRPr kumimoji="0" lang="en-US"/>
          </a:p>
        </p:txBody>
      </p:sp>
      <p:sp>
        <p:nvSpPr>
          <p:cNvPr id="3" name="Title Placeholder 2"/>
          <p:cNvSpPr>
            <a:spLocks noGrp="1"/>
          </p:cNvSpPr>
          <p:nvPr>
            <p:ph type="title"/>
          </p:nvPr>
        </p:nvSpPr>
        <p:spPr>
          <a:xfrm>
            <a:off x="457200" y="320040"/>
            <a:ext cx="7239000" cy="1143000"/>
          </a:xfrm>
          <a:prstGeom prst="rect">
            <a:avLst/>
          </a:prstGeom>
        </p:spPr>
        <p:txBody>
          <a:bodyPr vert="horz" lIns="45720" tIns="0" rIns="45720" bIns="0" anchor="b" anchorCtr="0">
            <a:normAutofit/>
          </a:bodyPr>
          <a:lstStyle>
            <a:extLst/>
          </a:lstStyle>
          <a:p>
            <a:r>
              <a:rPr kumimoji="0" lang="en-US" smtClean="0"/>
              <a:t>Click to edit Master title style</a:t>
            </a:r>
            <a:endParaRPr kumimoji="0" lang="en-US"/>
          </a:p>
        </p:txBody>
      </p:sp>
      <p:sp>
        <p:nvSpPr>
          <p:cNvPr id="31" name="Text Placeholder 30"/>
          <p:cNvSpPr>
            <a:spLocks noGrp="1"/>
          </p:cNvSpPr>
          <p:nvPr>
            <p:ph type="body" idx="1"/>
          </p:nvPr>
        </p:nvSpPr>
        <p:spPr>
          <a:xfrm>
            <a:off x="457200" y="1609416"/>
            <a:ext cx="7239000" cy="4846320"/>
          </a:xfrm>
          <a:prstGeom prst="rect">
            <a:avLst/>
          </a:prstGeom>
        </p:spPr>
        <p:txBody>
          <a:bodyPr vert="horz">
            <a:normAutofit/>
          </a:bodyPr>
          <a:lstStyle>
            <a:extLst/>
          </a:lstStyle>
          <a:p>
            <a:pPr lvl="0" eaLnBrk="1" latinLnBrk="0" hangingPunct="1"/>
            <a:r>
              <a:rPr kumimoji="0" lang="en-US" smtClean="0"/>
              <a:t>Click to edit Master text styles</a:t>
            </a:r>
          </a:p>
          <a:p>
            <a:pPr lvl="1" eaLnBrk="1" latinLnBrk="0" hangingPunct="1"/>
            <a:r>
              <a:rPr kumimoji="0" lang="en-US" smtClean="0"/>
              <a:t>Second level</a:t>
            </a:r>
          </a:p>
          <a:p>
            <a:pPr lvl="2" eaLnBrk="1" latinLnBrk="0" hangingPunct="1"/>
            <a:r>
              <a:rPr kumimoji="0" lang="en-US" smtClean="0"/>
              <a:t>Third level</a:t>
            </a:r>
          </a:p>
          <a:p>
            <a:pPr lvl="3" eaLnBrk="1" latinLnBrk="0" hangingPunct="1"/>
            <a:r>
              <a:rPr kumimoji="0" lang="en-US" smtClean="0"/>
              <a:t>Fourth level</a:t>
            </a:r>
          </a:p>
          <a:p>
            <a:pPr lvl="4" eaLnBrk="1" latinLnBrk="0" hangingPunct="1"/>
            <a:r>
              <a:rPr kumimoji="0" lang="en-US" smtClean="0"/>
              <a:t>Fifth level</a:t>
            </a:r>
            <a:endParaRPr kumimoji="0" lang="en-US"/>
          </a:p>
        </p:txBody>
      </p:sp>
      <p:sp>
        <p:nvSpPr>
          <p:cNvPr id="27" name="Date Placeholder 26"/>
          <p:cNvSpPr>
            <a:spLocks noGrp="1"/>
          </p:cNvSpPr>
          <p:nvPr>
            <p:ph type="dt" sz="half" idx="2"/>
          </p:nvPr>
        </p:nvSpPr>
        <p:spPr>
          <a:xfrm>
            <a:off x="4245936" y="6557946"/>
            <a:ext cx="2002464" cy="226902"/>
          </a:xfrm>
          <a:prstGeom prst="rect">
            <a:avLst/>
          </a:prstGeom>
        </p:spPr>
        <p:txBody>
          <a:bodyPr vert="horz" tIns="0" bIns="0" anchor="b"/>
          <a:lstStyle>
            <a:lvl1pPr algn="l" eaLnBrk="1" latinLnBrk="0" hangingPunct="1">
              <a:defRPr kumimoji="0" sz="1000">
                <a:solidFill>
                  <a:schemeClr val="tx2"/>
                </a:solidFill>
              </a:defRPr>
            </a:lvl1pPr>
            <a:extLst/>
          </a:lstStyle>
          <a:p>
            <a:fld id="{2339E2F8-3C53-43AC-AD33-2EC644AEB2BE}" type="datetimeFigureOut">
              <a:rPr lang="en-US" smtClean="0"/>
              <a:t>13-Jun-22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457200" y="6557946"/>
            <a:ext cx="3657600" cy="228600"/>
          </a:xfrm>
          <a:prstGeom prst="rect">
            <a:avLst/>
          </a:prstGeom>
        </p:spPr>
        <p:txBody>
          <a:bodyPr vert="horz" tIns="0" bIns="0" anchor="b"/>
          <a:lstStyle>
            <a:lvl1pPr algn="r" eaLnBrk="1" latinLnBrk="0" hangingPunct="1">
              <a:defRPr kumimoji="0" sz="1000">
                <a:solidFill>
                  <a:schemeClr val="tx2"/>
                </a:solidFill>
              </a:defRPr>
            </a:lvl1pPr>
            <a:extLst/>
          </a:lstStyle>
          <a:p>
            <a:endParaRPr lang="en-US"/>
          </a:p>
        </p:txBody>
      </p:sp>
      <p:sp>
        <p:nvSpPr>
          <p:cNvPr id="16" name="Slide Number Placeholder 15"/>
          <p:cNvSpPr>
            <a:spLocks noGrp="1"/>
          </p:cNvSpPr>
          <p:nvPr>
            <p:ph type="sldNum" sz="quarter" idx="4"/>
          </p:nvPr>
        </p:nvSpPr>
        <p:spPr>
          <a:xfrm>
            <a:off x="6251448" y="6556248"/>
            <a:ext cx="588336" cy="228600"/>
          </a:xfrm>
          <a:prstGeom prst="rect">
            <a:avLst/>
          </a:prstGeom>
        </p:spPr>
        <p:txBody>
          <a:bodyPr vert="horz" lIns="0" tIns="0" rIns="0" bIns="0" anchor="b"/>
          <a:lstStyle>
            <a:lvl1pPr algn="r" eaLnBrk="1" latinLnBrk="0" hangingPunct="1">
              <a:defRPr kumimoji="0" sz="1100">
                <a:solidFill>
                  <a:schemeClr val="tx2"/>
                </a:solidFill>
              </a:defRPr>
            </a:lvl1pPr>
            <a:extLst/>
          </a:lstStyle>
          <a:p>
            <a:fld id="{0CD59129-E287-4EBC-8723-7CB46D09F700}" type="slidenum">
              <a:rPr lang="en-US" smtClean="0"/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10" r:id="rId1"/>
    <p:sldLayoutId id="2147483711" r:id="rId2"/>
    <p:sldLayoutId id="2147483712" r:id="rId3"/>
    <p:sldLayoutId id="2147483713" r:id="rId4"/>
    <p:sldLayoutId id="2147483714" r:id="rId5"/>
    <p:sldLayoutId id="2147483715" r:id="rId6"/>
    <p:sldLayoutId id="2147483716" r:id="rId7"/>
    <p:sldLayoutId id="2147483717" r:id="rId8"/>
    <p:sldLayoutId id="2147483718" r:id="rId9"/>
    <p:sldLayoutId id="2147483719" r:id="rId10"/>
    <p:sldLayoutId id="2147483720" r:id="rId11"/>
  </p:sldLayoutIdLst>
  <p:transition spd="slow">
    <p:diamond/>
  </p:transition>
  <p:timing>
    <p:tnLst>
      <p:par>
        <p:cTn id="1" dur="indefinite" restart="never" nodeType="tmRoot"/>
      </p:par>
    </p:tnLst>
  </p:timing>
  <p:txStyles>
    <p:titleStyle>
      <a:lvl1pPr algn="l" rtl="0" eaLnBrk="1" latinLnBrk="0" hangingPunct="1">
        <a:spcBef>
          <a:spcPct val="0"/>
        </a:spcBef>
        <a:buNone/>
        <a:defRPr kumimoji="0" sz="3800" b="1" kern="1200" cap="all" baseline="0">
          <a:ln w="500">
            <a:solidFill>
              <a:schemeClr val="tx2">
                <a:shade val="20000"/>
                <a:satMod val="120000"/>
              </a:schemeClr>
            </a:solidFill>
          </a:ln>
          <a:gradFill>
            <a:gsLst>
              <a:gs pos="0">
                <a:schemeClr val="accent4">
                  <a:tint val="13000"/>
                </a:schemeClr>
              </a:gs>
              <a:gs pos="10000">
                <a:schemeClr val="accent4">
                  <a:tint val="20000"/>
                </a:schemeClr>
              </a:gs>
              <a:gs pos="49000">
                <a:schemeClr val="accent4">
                  <a:tint val="70000"/>
                </a:schemeClr>
              </a:gs>
              <a:gs pos="50000">
                <a:schemeClr val="accent4">
                  <a:tint val="97000"/>
                </a:schemeClr>
              </a:gs>
              <a:gs pos="100000">
                <a:schemeClr val="accent4">
                  <a:tint val="20000"/>
                </a:schemeClr>
              </a:gs>
            </a:gsLst>
            <a:lin ang="5400000" scaled="1"/>
          </a:gradFill>
          <a:effectLst/>
          <a:latin typeface="+mj-lt"/>
          <a:ea typeface="+mj-ea"/>
          <a:cs typeface="+mj-cs"/>
        </a:defRPr>
      </a:lvl1pPr>
      <a:extLst/>
    </p:titleStyle>
    <p:bodyStyle>
      <a:lvl1pPr marL="274320" indent="-274320" algn="l" rtl="0" eaLnBrk="1" latinLnBrk="0" hangingPunct="1">
        <a:spcBef>
          <a:spcPts val="600"/>
        </a:spcBef>
        <a:buClr>
          <a:schemeClr val="tx2"/>
        </a:buClr>
        <a:buSzPct val="73000"/>
        <a:buFont typeface="Wingdings 2"/>
        <a:buChar char=""/>
        <a:defRPr kumimoji="0" sz="2600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521208" indent="-228600" algn="l" rtl="0" eaLnBrk="1" latinLnBrk="0" hangingPunct="1">
        <a:spcBef>
          <a:spcPts val="500"/>
        </a:spcBef>
        <a:buClr>
          <a:schemeClr val="accent4"/>
        </a:buClr>
        <a:buSzPct val="80000"/>
        <a:buFont typeface="Wingdings 2"/>
        <a:buChar char=""/>
        <a:defRPr kumimoji="0" sz="2300" kern="1200">
          <a:solidFill>
            <a:schemeClr val="tx1">
              <a:tint val="85000"/>
            </a:schemeClr>
          </a:solidFill>
          <a:latin typeface="+mn-lt"/>
          <a:ea typeface="+mn-ea"/>
          <a:cs typeface="+mn-cs"/>
        </a:defRPr>
      </a:lvl2pPr>
      <a:lvl3pPr marL="758952" indent="-228600" algn="l" rtl="0" eaLnBrk="1" latinLnBrk="0" hangingPunct="1">
        <a:spcBef>
          <a:spcPts val="400"/>
        </a:spcBef>
        <a:buClr>
          <a:schemeClr val="accent4"/>
        </a:buClr>
        <a:buSzPct val="60000"/>
        <a:buFont typeface="Wingdings"/>
        <a:buChar char=""/>
        <a:defRPr kumimoji="0"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005840" indent="-228600" algn="l" rtl="0" eaLnBrk="1" latinLnBrk="0" hangingPunct="1">
        <a:spcBef>
          <a:spcPct val="20000"/>
        </a:spcBef>
        <a:buClr>
          <a:schemeClr val="accent4"/>
        </a:buClr>
        <a:buSzPct val="80000"/>
        <a:buFont typeface="Wingdings 2"/>
        <a:buChar char=""/>
        <a:defRPr kumimoji="0" sz="2000" kern="1200">
          <a:solidFill>
            <a:schemeClr val="tx1">
              <a:tint val="85000"/>
            </a:schemeClr>
          </a:solidFill>
          <a:latin typeface="+mn-lt"/>
          <a:ea typeface="+mn-ea"/>
          <a:cs typeface="+mn-cs"/>
        </a:defRPr>
      </a:lvl4pPr>
      <a:lvl5pPr marL="1280160" indent="-228600" algn="l" rtl="0" eaLnBrk="1" latinLnBrk="0" hangingPunct="1">
        <a:spcBef>
          <a:spcPts val="400"/>
        </a:spcBef>
        <a:buClr>
          <a:schemeClr val="accent4"/>
        </a:buClr>
        <a:buSzPct val="70000"/>
        <a:buFont typeface="Wingdings"/>
        <a:buChar char=""/>
        <a:defRPr kumimoji="0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1472184" indent="-182880" algn="l" rtl="0" eaLnBrk="1" latinLnBrk="0" hangingPunct="1">
        <a:spcBef>
          <a:spcPts val="400"/>
        </a:spcBef>
        <a:buClr>
          <a:schemeClr val="accent4"/>
        </a:buClr>
        <a:buSzPct val="80000"/>
        <a:buFont typeface="Wingdings 2"/>
        <a:buChar char=""/>
        <a:defRPr kumimoji="0" sz="1800" kern="1200">
          <a:solidFill>
            <a:schemeClr val="tx1">
              <a:tint val="85000"/>
            </a:schemeClr>
          </a:solidFill>
          <a:latin typeface="+mn-lt"/>
          <a:ea typeface="+mn-ea"/>
          <a:cs typeface="+mn-cs"/>
        </a:defRPr>
      </a:lvl6pPr>
      <a:lvl7pPr marL="1673352" indent="-182880" algn="l" rtl="0" eaLnBrk="1" latinLnBrk="0" hangingPunct="1">
        <a:spcBef>
          <a:spcPct val="20000"/>
        </a:spcBef>
        <a:buClr>
          <a:schemeClr val="accent4"/>
        </a:buClr>
        <a:buSzPct val="80000"/>
        <a:buFont typeface="Wingdings 2"/>
        <a:buChar char=""/>
        <a:defRPr kumimoji="0" sz="160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1847088" indent="-182880" algn="l" rtl="0" eaLnBrk="1" latinLnBrk="0" hangingPunct="1">
        <a:spcBef>
          <a:spcPts val="300"/>
        </a:spcBef>
        <a:buClr>
          <a:schemeClr val="accent4"/>
        </a:buClr>
        <a:buSzPct val="100000"/>
        <a:buChar char="•"/>
        <a:defRPr kumimoji="0" sz="1600" kern="1200" baseline="0">
          <a:solidFill>
            <a:schemeClr val="tx1">
              <a:tint val="85000"/>
            </a:schemeClr>
          </a:solidFill>
          <a:latin typeface="+mn-lt"/>
          <a:ea typeface="+mn-ea"/>
          <a:cs typeface="+mn-cs"/>
        </a:defRPr>
      </a:lvl8pPr>
      <a:lvl9pPr marL="2057400" indent="-182880" algn="l" rtl="0" eaLnBrk="1" latinLnBrk="0" hangingPunct="1">
        <a:spcBef>
          <a:spcPct val="20000"/>
        </a:spcBef>
        <a:buClr>
          <a:schemeClr val="accent4"/>
        </a:buClr>
        <a:buSzPct val="100000"/>
        <a:buFont typeface="Wingdings"/>
        <a:buChar char="§"/>
        <a:defRPr kumimoji="0" sz="1400" kern="1200" baseline="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tmp"/><Relationship Id="rId1" Type="http://schemas.openxmlformats.org/officeDocument/2006/relationships/slideLayout" Target="../slideLayouts/slideLayout1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9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9.bin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0.bin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1.bin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2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2.bin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3.bin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4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4.bin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5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5.bin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16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5.gif"/><Relationship Id="rId5" Type="http://schemas.openxmlformats.org/officeDocument/2006/relationships/image" Target="../media/image4.emf"/><Relationship Id="rId4" Type="http://schemas.openxmlformats.org/officeDocument/2006/relationships/oleObject" Target="../embeddings/oleObject16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.bin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7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7.bin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18.xml"/><Relationship Id="rId1" Type="http://schemas.openxmlformats.org/officeDocument/2006/relationships/vmlDrawing" Target="../drawings/vmlDrawing18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8.bin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9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9.bin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20.xml"/><Relationship Id="rId1" Type="http://schemas.openxmlformats.org/officeDocument/2006/relationships/vmlDrawing" Target="../drawings/vmlDrawing20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20.bin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21.xml"/><Relationship Id="rId1" Type="http://schemas.openxmlformats.org/officeDocument/2006/relationships/vmlDrawing" Target="../drawings/vmlDrawing21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21.bin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22.xml"/><Relationship Id="rId1" Type="http://schemas.openxmlformats.org/officeDocument/2006/relationships/vmlDrawing" Target="../drawings/vmlDrawing22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22.bin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23.xml"/><Relationship Id="rId1" Type="http://schemas.openxmlformats.org/officeDocument/2006/relationships/vmlDrawing" Target="../drawings/vmlDrawing2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23.bin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24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5.gif"/><Relationship Id="rId5" Type="http://schemas.openxmlformats.org/officeDocument/2006/relationships/image" Target="../media/image4.emf"/><Relationship Id="rId4" Type="http://schemas.openxmlformats.org/officeDocument/2006/relationships/oleObject" Target="../embeddings/oleObject24.bin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25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5.gif"/><Relationship Id="rId5" Type="http://schemas.openxmlformats.org/officeDocument/2006/relationships/image" Target="../media/image4.emf"/><Relationship Id="rId4" Type="http://schemas.openxmlformats.org/officeDocument/2006/relationships/oleObject" Target="../embeddings/oleObject25.bin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26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5.gif"/><Relationship Id="rId5" Type="http://schemas.openxmlformats.org/officeDocument/2006/relationships/image" Target="../media/image4.emf"/><Relationship Id="rId4" Type="http://schemas.openxmlformats.org/officeDocument/2006/relationships/oleObject" Target="../embeddings/oleObject26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5.gif"/><Relationship Id="rId5" Type="http://schemas.openxmlformats.org/officeDocument/2006/relationships/image" Target="../media/image4.emf"/><Relationship Id="rId4" Type="http://schemas.openxmlformats.org/officeDocument/2006/relationships/oleObject" Target="../embeddings/oleObject2.bin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27.xml"/><Relationship Id="rId1" Type="http://schemas.openxmlformats.org/officeDocument/2006/relationships/vmlDrawing" Target="../drawings/vmlDrawing27.vml"/><Relationship Id="rId6" Type="http://schemas.openxmlformats.org/officeDocument/2006/relationships/image" Target="../media/image5.gif"/><Relationship Id="rId5" Type="http://schemas.openxmlformats.org/officeDocument/2006/relationships/image" Target="../media/image4.emf"/><Relationship Id="rId4" Type="http://schemas.openxmlformats.org/officeDocument/2006/relationships/oleObject" Target="../embeddings/oleObject27.bin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28.xml"/><Relationship Id="rId1" Type="http://schemas.openxmlformats.org/officeDocument/2006/relationships/vmlDrawing" Target="../drawings/vmlDrawing28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28.bin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3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5.gif"/><Relationship Id="rId5" Type="http://schemas.openxmlformats.org/officeDocument/2006/relationships/image" Target="../media/image4.emf"/><Relationship Id="rId4" Type="http://schemas.openxmlformats.org/officeDocument/2006/relationships/oleObject" Target="../embeddings/oleObject3.bin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diagramQuickStyle" Target="../diagrams/quickStyle1.xml"/><Relationship Id="rId3" Type="http://schemas.openxmlformats.org/officeDocument/2006/relationships/slideLayout" Target="../slideLayouts/slideLayout1.xml"/><Relationship Id="rId7" Type="http://schemas.openxmlformats.org/officeDocument/2006/relationships/diagramLayout" Target="../diagrams/layout1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6" Type="http://schemas.openxmlformats.org/officeDocument/2006/relationships/diagramData" Target="../diagrams/data1.xml"/><Relationship Id="rId5" Type="http://schemas.openxmlformats.org/officeDocument/2006/relationships/image" Target="../media/image4.emf"/><Relationship Id="rId10" Type="http://schemas.microsoft.com/office/2007/relationships/diagramDrawing" Target="../diagrams/drawing1.xml"/><Relationship Id="rId4" Type="http://schemas.openxmlformats.org/officeDocument/2006/relationships/oleObject" Target="../embeddings/oleObject4.bin"/><Relationship Id="rId9" Type="http://schemas.openxmlformats.org/officeDocument/2006/relationships/diagramColors" Target="../diagrams/colors1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5.bin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diagramQuickStyle" Target="../diagrams/quickStyle2.xml"/><Relationship Id="rId3" Type="http://schemas.openxmlformats.org/officeDocument/2006/relationships/slideLayout" Target="../slideLayouts/slideLayout1.xml"/><Relationship Id="rId7" Type="http://schemas.openxmlformats.org/officeDocument/2006/relationships/diagramLayout" Target="../diagrams/layout2.xml"/><Relationship Id="rId2" Type="http://schemas.openxmlformats.org/officeDocument/2006/relationships/tags" Target="../tags/tag6.xml"/><Relationship Id="rId1" Type="http://schemas.openxmlformats.org/officeDocument/2006/relationships/vmlDrawing" Target="../drawings/vmlDrawing6.vml"/><Relationship Id="rId6" Type="http://schemas.openxmlformats.org/officeDocument/2006/relationships/diagramData" Target="../diagrams/data2.xml"/><Relationship Id="rId5" Type="http://schemas.openxmlformats.org/officeDocument/2006/relationships/image" Target="../media/image4.emf"/><Relationship Id="rId10" Type="http://schemas.microsoft.com/office/2007/relationships/diagramDrawing" Target="../diagrams/drawing2.xml"/><Relationship Id="rId4" Type="http://schemas.openxmlformats.org/officeDocument/2006/relationships/oleObject" Target="../embeddings/oleObject6.bin"/><Relationship Id="rId9" Type="http://schemas.openxmlformats.org/officeDocument/2006/relationships/diagramColors" Target="../diagrams/colors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7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5.gif"/><Relationship Id="rId5" Type="http://schemas.openxmlformats.org/officeDocument/2006/relationships/image" Target="../media/image4.emf"/><Relationship Id="rId4" Type="http://schemas.openxmlformats.org/officeDocument/2006/relationships/oleObject" Target="../embeddings/oleObject7.bin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8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8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2973136" y="2581870"/>
            <a:ext cx="3197735" cy="92333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5400" b="1" dirty="0" smtClean="0">
                <a:ln w="10541" cmpd="sng">
                  <a:solidFill>
                    <a:srgbClr val="4F81BD">
                      <a:shade val="88000"/>
                      <a:satMod val="110000"/>
                    </a:srgbClr>
                  </a:solidFill>
                  <a:prstDash val="solid"/>
                </a:ln>
                <a:gradFill>
                  <a:gsLst>
                    <a:gs pos="0">
                      <a:srgbClr val="4F81BD">
                        <a:tint val="40000"/>
                        <a:satMod val="250000"/>
                      </a:srgbClr>
                    </a:gs>
                    <a:gs pos="9000">
                      <a:srgbClr val="4F81BD">
                        <a:tint val="52000"/>
                        <a:satMod val="300000"/>
                      </a:srgbClr>
                    </a:gs>
                    <a:gs pos="50000">
                      <a:srgbClr val="4F81BD">
                        <a:shade val="20000"/>
                        <a:satMod val="300000"/>
                      </a:srgbClr>
                    </a:gs>
                    <a:gs pos="79000">
                      <a:srgbClr val="4F81BD">
                        <a:tint val="52000"/>
                        <a:satMod val="300000"/>
                      </a:srgbClr>
                    </a:gs>
                    <a:gs pos="100000">
                      <a:srgbClr val="4F81BD">
                        <a:tint val="40000"/>
                        <a:satMod val="250000"/>
                      </a:srgbClr>
                    </a:gs>
                  </a:gsLst>
                  <a:lin ang="5400000"/>
                </a:gradFill>
              </a:rPr>
              <a:t>Tally ERP.9</a:t>
            </a:r>
            <a:endParaRPr lang="en-US" sz="5400" b="1" dirty="0">
              <a:ln w="10541" cmpd="sng">
                <a:solidFill>
                  <a:srgbClr val="4F81BD">
                    <a:shade val="88000"/>
                    <a:satMod val="110000"/>
                  </a:srgbClr>
                </a:solidFill>
                <a:prstDash val="solid"/>
              </a:ln>
              <a:gradFill>
                <a:gsLst>
                  <a:gs pos="0">
                    <a:srgbClr val="4F81BD">
                      <a:tint val="40000"/>
                      <a:satMod val="250000"/>
                    </a:srgbClr>
                  </a:gs>
                  <a:gs pos="9000">
                    <a:srgbClr val="4F81BD">
                      <a:tint val="52000"/>
                      <a:satMod val="300000"/>
                    </a:srgbClr>
                  </a:gs>
                  <a:gs pos="50000">
                    <a:srgbClr val="4F81BD">
                      <a:shade val="20000"/>
                      <a:satMod val="300000"/>
                    </a:srgbClr>
                  </a:gs>
                  <a:gs pos="79000">
                    <a:srgbClr val="4F81BD">
                      <a:tint val="52000"/>
                      <a:satMod val="300000"/>
                    </a:srgbClr>
                  </a:gs>
                  <a:gs pos="100000">
                    <a:srgbClr val="4F81BD">
                      <a:tint val="40000"/>
                      <a:satMod val="250000"/>
                    </a:srgbClr>
                  </a:gs>
                </a:gsLst>
                <a:lin ang="5400000"/>
              </a:gradFill>
            </a:endParaRPr>
          </a:p>
        </p:txBody>
      </p:sp>
      <p:pic>
        <p:nvPicPr>
          <p:cNvPr id="3" name="Picture 2" descr="Screen Clipping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219264" y="3657472"/>
            <a:ext cx="2705478" cy="9145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603380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</p:bld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8" name="Object 3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3912318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8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1" name="Straight Connector 10"/>
          <p:cNvCxnSpPr/>
          <p:nvPr/>
        </p:nvCxnSpPr>
        <p:spPr>
          <a:xfrm rot="5400000">
            <a:off x="4581414" y="-2181922"/>
            <a:ext cx="0" cy="6345044"/>
          </a:xfrm>
          <a:prstGeom prst="line">
            <a:avLst/>
          </a:prstGeom>
          <a:ln w="3175">
            <a:solidFill>
              <a:schemeClr val="bg1">
                <a:lumMod val="75000"/>
                <a:alpha val="48000"/>
              </a:schemeClr>
            </a:solidFill>
          </a:ln>
          <a:effectLst>
            <a:outerShdw blurRad="38100" algn="ctr" rotWithShape="0">
              <a:schemeClr val="tx1">
                <a:alpha val="44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3" name="TextBox 12"/>
          <p:cNvSpPr txBox="1"/>
          <p:nvPr/>
        </p:nvSpPr>
        <p:spPr>
          <a:xfrm>
            <a:off x="324531" y="115669"/>
            <a:ext cx="8543925" cy="64633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b="1" dirty="0" smtClean="0">
                <a:solidFill>
                  <a:srgbClr val="0B538F"/>
                </a:solidFill>
                <a:latin typeface="Neo Sans Std Medium" pitchFamily="34" charset="0"/>
                <a:ea typeface="ＭＳ Ｐゴシック" charset="0"/>
              </a:rPr>
              <a:t>Tally ERP.9</a:t>
            </a:r>
          </a:p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sz="2400" b="1" dirty="0" smtClean="0">
                <a:solidFill>
                  <a:srgbClr val="0B538F"/>
                </a:solidFill>
                <a:latin typeface="Neo Sans Std" pitchFamily="34" charset="0"/>
                <a:ea typeface="ＭＳ Ｐゴシック" charset="0"/>
              </a:rPr>
              <a:t>Introduction of Accounting</a:t>
            </a:r>
            <a:endParaRPr lang="en-US" sz="2400" b="1" dirty="0">
              <a:solidFill>
                <a:srgbClr val="0B538F"/>
              </a:solidFill>
              <a:latin typeface="Neo Sans Std" pitchFamily="34" charset="0"/>
              <a:ea typeface="ＭＳ Ｐゴシック" charset="0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210572" y="1109246"/>
            <a:ext cx="4495800" cy="33855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sz="2200" b="1" dirty="0" smtClean="0">
                <a:solidFill>
                  <a:srgbClr val="0B538F"/>
                </a:solidFill>
                <a:latin typeface="Neo Sans Std" pitchFamily="34" charset="0"/>
                <a:ea typeface="ＭＳ Ｐゴシック" charset="0"/>
              </a:rPr>
              <a:t>Basic terms of Accounting:</a:t>
            </a:r>
            <a:endParaRPr lang="en-US" sz="2200" b="1" dirty="0">
              <a:solidFill>
                <a:srgbClr val="0B538F"/>
              </a:solidFill>
              <a:latin typeface="Neo Sans Std" pitchFamily="34" charset="0"/>
              <a:ea typeface="ＭＳ Ｐゴシック" charset="0"/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0" y="1860828"/>
            <a:ext cx="9144000" cy="33855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sz="2200" b="1" dirty="0" smtClean="0">
                <a:ln w="1905"/>
                <a:gradFill>
                  <a:gsLst>
                    <a:gs pos="0">
                      <a:schemeClr val="accent6">
                        <a:shade val="20000"/>
                        <a:satMod val="200000"/>
                      </a:schemeClr>
                    </a:gs>
                    <a:gs pos="78000">
                      <a:schemeClr val="accent6">
                        <a:tint val="90000"/>
                        <a:shade val="89000"/>
                        <a:satMod val="220000"/>
                      </a:schemeClr>
                    </a:gs>
                    <a:gs pos="100000">
                      <a:schemeClr val="accent6">
                        <a:tint val="12000"/>
                        <a:satMod val="255000"/>
                      </a:schemeClr>
                    </a:gs>
                  </a:gsLst>
                  <a:lin ang="5400000"/>
                </a:gra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Neo Sans Std" pitchFamily="34" charset="0"/>
                <a:ea typeface="ＭＳ Ｐゴシック" charset="0"/>
              </a:rPr>
              <a:t>1. Business:</a:t>
            </a:r>
            <a:endParaRPr lang="en-US" sz="2200" b="1" dirty="0">
              <a:ln w="1905"/>
              <a:gradFill>
                <a:gsLst>
                  <a:gs pos="0">
                    <a:schemeClr val="accent6">
                      <a:shade val="20000"/>
                      <a:satMod val="200000"/>
                    </a:schemeClr>
                  </a:gs>
                  <a:gs pos="78000">
                    <a:schemeClr val="accent6">
                      <a:tint val="90000"/>
                      <a:shade val="89000"/>
                      <a:satMod val="220000"/>
                    </a:schemeClr>
                  </a:gs>
                  <a:gs pos="100000">
                    <a:schemeClr val="accent6">
                      <a:tint val="12000"/>
                      <a:satMod val="255000"/>
                    </a:schemeClr>
                  </a:gs>
                </a:gsLst>
                <a:lin ang="5400000"/>
              </a:gradFill>
              <a:effectLst>
                <a:innerShdw blurRad="69850" dist="43180" dir="5400000">
                  <a:srgbClr val="000000">
                    <a:alpha val="65000"/>
                  </a:srgbClr>
                </a:innerShdw>
              </a:effectLst>
              <a:latin typeface="Neo Sans Std" pitchFamily="34" charset="0"/>
              <a:ea typeface="ＭＳ Ｐゴシック" charset="0"/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0" y="2221468"/>
            <a:ext cx="9170875" cy="369332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spcAft>
                <a:spcPts val="1200"/>
              </a:spcAft>
            </a:pPr>
            <a:r>
              <a:rPr lang="en-US" b="1" dirty="0" smtClean="0">
                <a:solidFill>
                  <a:prstClr val="black"/>
                </a:solidFill>
                <a:latin typeface="Neo Sans Std" pitchFamily="34" charset="0"/>
                <a:cs typeface="Calibri" pitchFamily="34" charset="0"/>
              </a:rPr>
              <a:t>                     It is an activity to earn the Profit.</a:t>
            </a:r>
          </a:p>
        </p:txBody>
      </p:sp>
      <p:sp>
        <p:nvSpPr>
          <p:cNvPr id="24" name="TextBox 23"/>
          <p:cNvSpPr txBox="1"/>
          <p:nvPr/>
        </p:nvSpPr>
        <p:spPr>
          <a:xfrm>
            <a:off x="0" y="4572000"/>
            <a:ext cx="9144000" cy="33855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sz="2200" b="1" dirty="0">
                <a:ln w="1905"/>
                <a:gradFill>
                  <a:gsLst>
                    <a:gs pos="0">
                      <a:schemeClr val="accent6">
                        <a:shade val="20000"/>
                        <a:satMod val="200000"/>
                      </a:schemeClr>
                    </a:gs>
                    <a:gs pos="78000">
                      <a:schemeClr val="accent6">
                        <a:tint val="90000"/>
                        <a:shade val="89000"/>
                        <a:satMod val="220000"/>
                      </a:schemeClr>
                    </a:gs>
                    <a:gs pos="100000">
                      <a:schemeClr val="accent6">
                        <a:tint val="12000"/>
                        <a:satMod val="255000"/>
                      </a:schemeClr>
                    </a:gs>
                  </a:gsLst>
                  <a:lin ang="5400000"/>
                </a:gra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Neo Sans Std" pitchFamily="34" charset="0"/>
                <a:ea typeface="ＭＳ Ｐゴシック" charset="0"/>
              </a:rPr>
              <a:t>3</a:t>
            </a:r>
            <a:r>
              <a:rPr lang="en-US" sz="2200" b="1" dirty="0" smtClean="0">
                <a:ln w="1905"/>
                <a:gradFill>
                  <a:gsLst>
                    <a:gs pos="0">
                      <a:schemeClr val="accent6">
                        <a:shade val="20000"/>
                        <a:satMod val="200000"/>
                      </a:schemeClr>
                    </a:gs>
                    <a:gs pos="78000">
                      <a:schemeClr val="accent6">
                        <a:tint val="90000"/>
                        <a:shade val="89000"/>
                        <a:satMod val="220000"/>
                      </a:schemeClr>
                    </a:gs>
                    <a:gs pos="100000">
                      <a:schemeClr val="accent6">
                        <a:tint val="12000"/>
                        <a:satMod val="255000"/>
                      </a:schemeClr>
                    </a:gs>
                  </a:gsLst>
                  <a:lin ang="5400000"/>
                </a:gra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Neo Sans Std" pitchFamily="34" charset="0"/>
                <a:ea typeface="ＭＳ Ｐゴシック" charset="0"/>
              </a:rPr>
              <a:t>. Capital:</a:t>
            </a:r>
            <a:endParaRPr lang="en-US" sz="2200" b="1" dirty="0">
              <a:ln w="1905"/>
              <a:gradFill>
                <a:gsLst>
                  <a:gs pos="0">
                    <a:schemeClr val="accent6">
                      <a:shade val="20000"/>
                      <a:satMod val="200000"/>
                    </a:schemeClr>
                  </a:gs>
                  <a:gs pos="78000">
                    <a:schemeClr val="accent6">
                      <a:tint val="90000"/>
                      <a:shade val="89000"/>
                      <a:satMod val="220000"/>
                    </a:schemeClr>
                  </a:gs>
                  <a:gs pos="100000">
                    <a:schemeClr val="accent6">
                      <a:tint val="12000"/>
                      <a:satMod val="255000"/>
                    </a:schemeClr>
                  </a:gs>
                </a:gsLst>
                <a:lin ang="5400000"/>
              </a:gradFill>
              <a:effectLst>
                <a:innerShdw blurRad="69850" dist="43180" dir="5400000">
                  <a:srgbClr val="000000">
                    <a:alpha val="65000"/>
                  </a:srgbClr>
                </a:innerShdw>
              </a:effectLst>
              <a:latin typeface="Neo Sans Std" pitchFamily="34" charset="0"/>
              <a:ea typeface="ＭＳ Ｐゴシック" charset="0"/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0" y="4872573"/>
            <a:ext cx="9188903" cy="646331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spcAft>
                <a:spcPts val="1200"/>
              </a:spcAft>
            </a:pPr>
            <a:r>
              <a:rPr lang="en-US" b="1" dirty="0" smtClean="0">
                <a:solidFill>
                  <a:prstClr val="black"/>
                </a:solidFill>
                <a:latin typeface="Neo Sans Std" pitchFamily="34" charset="0"/>
                <a:cs typeface="Calibri" pitchFamily="34" charset="0"/>
              </a:rPr>
              <a:t>                     It refers to the money or money’s worth invested by the owner in the business.</a:t>
            </a:r>
          </a:p>
        </p:txBody>
      </p:sp>
      <p:sp>
        <p:nvSpPr>
          <p:cNvPr id="30" name="TextBox 29"/>
          <p:cNvSpPr txBox="1"/>
          <p:nvPr/>
        </p:nvSpPr>
        <p:spPr>
          <a:xfrm>
            <a:off x="0" y="2971800"/>
            <a:ext cx="9144000" cy="33855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sz="2200" b="1" dirty="0">
                <a:ln w="1905"/>
                <a:gradFill>
                  <a:gsLst>
                    <a:gs pos="0">
                      <a:schemeClr val="accent6">
                        <a:shade val="20000"/>
                        <a:satMod val="200000"/>
                      </a:schemeClr>
                    </a:gs>
                    <a:gs pos="78000">
                      <a:schemeClr val="accent6">
                        <a:tint val="90000"/>
                        <a:shade val="89000"/>
                        <a:satMod val="220000"/>
                      </a:schemeClr>
                    </a:gs>
                    <a:gs pos="100000">
                      <a:schemeClr val="accent6">
                        <a:tint val="12000"/>
                        <a:satMod val="255000"/>
                      </a:schemeClr>
                    </a:gs>
                  </a:gsLst>
                  <a:lin ang="5400000"/>
                </a:gra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Neo Sans Std" pitchFamily="34" charset="0"/>
                <a:ea typeface="ＭＳ Ｐゴシック" charset="0"/>
              </a:rPr>
              <a:t>2</a:t>
            </a:r>
            <a:r>
              <a:rPr lang="en-US" sz="2200" b="1" dirty="0" smtClean="0">
                <a:ln w="1905"/>
                <a:gradFill>
                  <a:gsLst>
                    <a:gs pos="0">
                      <a:schemeClr val="accent6">
                        <a:shade val="20000"/>
                        <a:satMod val="200000"/>
                      </a:schemeClr>
                    </a:gs>
                    <a:gs pos="78000">
                      <a:schemeClr val="accent6">
                        <a:tint val="90000"/>
                        <a:shade val="89000"/>
                        <a:satMod val="220000"/>
                      </a:schemeClr>
                    </a:gs>
                    <a:gs pos="100000">
                      <a:schemeClr val="accent6">
                        <a:tint val="12000"/>
                        <a:satMod val="255000"/>
                      </a:schemeClr>
                    </a:gs>
                  </a:gsLst>
                  <a:lin ang="5400000"/>
                </a:gra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Neo Sans Std" pitchFamily="34" charset="0"/>
                <a:ea typeface="ＭＳ Ｐゴシック" charset="0"/>
              </a:rPr>
              <a:t>. Owner / Proprietor:</a:t>
            </a:r>
          </a:p>
        </p:txBody>
      </p:sp>
      <p:sp>
        <p:nvSpPr>
          <p:cNvPr id="31" name="TextBox 30"/>
          <p:cNvSpPr txBox="1"/>
          <p:nvPr/>
        </p:nvSpPr>
        <p:spPr>
          <a:xfrm>
            <a:off x="0" y="3316069"/>
            <a:ext cx="9188903" cy="646331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spcAft>
                <a:spcPts val="1200"/>
              </a:spcAft>
            </a:pPr>
            <a:r>
              <a:rPr lang="en-US" b="1" dirty="0" smtClean="0">
                <a:solidFill>
                  <a:prstClr val="black"/>
                </a:solidFill>
                <a:latin typeface="Neo Sans Std" pitchFamily="34" charset="0"/>
                <a:cs typeface="Calibri" pitchFamily="34" charset="0"/>
              </a:rPr>
              <a:t>                    The person who makes the investment &amp; bears all the risk connected with the business is known as Owner / proprietor.</a:t>
            </a:r>
          </a:p>
        </p:txBody>
      </p:sp>
    </p:spTree>
    <p:extLst>
      <p:ext uri="{BB962C8B-B14F-4D97-AF65-F5344CB8AC3E}">
        <p14:creationId xmlns:p14="http://schemas.microsoft.com/office/powerpoint/2010/main" val="14825078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isInverted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8" name="Object 3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8192272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40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1" name="Straight Connector 10"/>
          <p:cNvCxnSpPr/>
          <p:nvPr/>
        </p:nvCxnSpPr>
        <p:spPr>
          <a:xfrm rot="5400000">
            <a:off x="4581414" y="-2181922"/>
            <a:ext cx="0" cy="6345044"/>
          </a:xfrm>
          <a:prstGeom prst="line">
            <a:avLst/>
          </a:prstGeom>
          <a:ln w="3175">
            <a:solidFill>
              <a:schemeClr val="bg1">
                <a:lumMod val="75000"/>
                <a:alpha val="48000"/>
              </a:schemeClr>
            </a:solidFill>
          </a:ln>
          <a:effectLst>
            <a:outerShdw blurRad="38100" algn="ctr" rotWithShape="0">
              <a:schemeClr val="tx1">
                <a:alpha val="44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3" name="TextBox 12"/>
          <p:cNvSpPr txBox="1"/>
          <p:nvPr/>
        </p:nvSpPr>
        <p:spPr>
          <a:xfrm>
            <a:off x="324531" y="115669"/>
            <a:ext cx="8543925" cy="64633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b="1" dirty="0" smtClean="0">
                <a:solidFill>
                  <a:srgbClr val="0B538F"/>
                </a:solidFill>
                <a:latin typeface="Neo Sans Std Medium" pitchFamily="34" charset="0"/>
                <a:ea typeface="ＭＳ Ｐゴシック" charset="0"/>
              </a:rPr>
              <a:t>Tally ERP.9</a:t>
            </a:r>
          </a:p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sz="2400" b="1" dirty="0" smtClean="0">
                <a:solidFill>
                  <a:srgbClr val="0B538F"/>
                </a:solidFill>
                <a:latin typeface="Neo Sans Std" pitchFamily="34" charset="0"/>
                <a:ea typeface="ＭＳ Ｐゴシック" charset="0"/>
              </a:rPr>
              <a:t>Introduction of Accounting</a:t>
            </a:r>
            <a:endParaRPr lang="en-US" sz="2400" b="1" dirty="0">
              <a:solidFill>
                <a:srgbClr val="0B538F"/>
              </a:solidFill>
              <a:latin typeface="Neo Sans Std" pitchFamily="34" charset="0"/>
              <a:ea typeface="ＭＳ Ｐゴシック" charset="0"/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0" y="1218724"/>
            <a:ext cx="9144000" cy="33855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sz="2200" b="1" dirty="0" smtClean="0">
                <a:ln w="1905"/>
                <a:gradFill>
                  <a:gsLst>
                    <a:gs pos="0">
                      <a:schemeClr val="accent6">
                        <a:shade val="20000"/>
                        <a:satMod val="200000"/>
                      </a:schemeClr>
                    </a:gs>
                    <a:gs pos="78000">
                      <a:schemeClr val="accent6">
                        <a:tint val="90000"/>
                        <a:shade val="89000"/>
                        <a:satMod val="220000"/>
                      </a:schemeClr>
                    </a:gs>
                    <a:gs pos="100000">
                      <a:schemeClr val="accent6">
                        <a:tint val="12000"/>
                        <a:satMod val="255000"/>
                      </a:schemeClr>
                    </a:gs>
                  </a:gsLst>
                  <a:lin ang="5400000"/>
                </a:gra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Neo Sans Std" pitchFamily="34" charset="0"/>
                <a:ea typeface="ＭＳ Ｐゴシック" charset="0"/>
              </a:rPr>
              <a:t>4. Transaction:</a:t>
            </a:r>
            <a:endParaRPr lang="en-US" sz="2200" b="1" dirty="0">
              <a:ln w="1905"/>
              <a:gradFill>
                <a:gsLst>
                  <a:gs pos="0">
                    <a:schemeClr val="accent6">
                      <a:shade val="20000"/>
                      <a:satMod val="200000"/>
                    </a:schemeClr>
                  </a:gs>
                  <a:gs pos="78000">
                    <a:schemeClr val="accent6">
                      <a:tint val="90000"/>
                      <a:shade val="89000"/>
                      <a:satMod val="220000"/>
                    </a:schemeClr>
                  </a:gs>
                  <a:gs pos="100000">
                    <a:schemeClr val="accent6">
                      <a:tint val="12000"/>
                      <a:satMod val="255000"/>
                    </a:schemeClr>
                  </a:gs>
                </a:gsLst>
                <a:lin ang="5400000"/>
              </a:gradFill>
              <a:effectLst>
                <a:innerShdw blurRad="69850" dist="43180" dir="5400000">
                  <a:srgbClr val="000000">
                    <a:alpha val="65000"/>
                  </a:srgbClr>
                </a:innerShdw>
              </a:effectLst>
              <a:latin typeface="Neo Sans Std" pitchFamily="34" charset="0"/>
              <a:ea typeface="ＭＳ Ｐゴシック" charset="0"/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0" y="1579364"/>
            <a:ext cx="9170875" cy="2923877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spcAft>
                <a:spcPts val="1200"/>
              </a:spcAft>
            </a:pPr>
            <a:r>
              <a:rPr lang="en-US" b="1" dirty="0" smtClean="0">
                <a:solidFill>
                  <a:prstClr val="black"/>
                </a:solidFill>
                <a:latin typeface="Neo Sans Std" pitchFamily="34" charset="0"/>
                <a:cs typeface="Calibri" pitchFamily="34" charset="0"/>
              </a:rPr>
              <a:t>                     Is an activity which involves exchange of money or money’s worth between two parties.</a:t>
            </a:r>
          </a:p>
          <a:p>
            <a:pPr>
              <a:spcAft>
                <a:spcPts val="1200"/>
              </a:spcAft>
            </a:pPr>
            <a:r>
              <a:rPr lang="en-US" b="1" dirty="0">
                <a:solidFill>
                  <a:prstClr val="black"/>
                </a:solidFill>
                <a:latin typeface="Neo Sans Std" pitchFamily="34" charset="0"/>
                <a:cs typeface="Calibri" pitchFamily="34" charset="0"/>
              </a:rPr>
              <a:t> </a:t>
            </a:r>
            <a:r>
              <a:rPr lang="en-US" b="1" dirty="0" smtClean="0">
                <a:solidFill>
                  <a:prstClr val="black"/>
                </a:solidFill>
                <a:latin typeface="Neo Sans Std" pitchFamily="34" charset="0"/>
                <a:cs typeface="Calibri" pitchFamily="34" charset="0"/>
              </a:rPr>
              <a:t>      </a:t>
            </a:r>
            <a:r>
              <a:rPr lang="en-US" b="1" u="sng" dirty="0" smtClean="0">
                <a:solidFill>
                  <a:prstClr val="black"/>
                </a:solidFill>
                <a:latin typeface="Neo Sans Std" pitchFamily="34" charset="0"/>
                <a:cs typeface="Calibri" pitchFamily="34" charset="0"/>
              </a:rPr>
              <a:t>Types of Transactions</a:t>
            </a:r>
            <a:r>
              <a:rPr lang="en-US" b="1" dirty="0" smtClean="0">
                <a:solidFill>
                  <a:prstClr val="black"/>
                </a:solidFill>
                <a:latin typeface="Neo Sans Std" pitchFamily="34" charset="0"/>
                <a:cs typeface="Calibri" pitchFamily="34" charset="0"/>
              </a:rPr>
              <a:t>:</a:t>
            </a:r>
          </a:p>
          <a:p>
            <a:pPr marL="342900" indent="-342900">
              <a:spcAft>
                <a:spcPts val="1200"/>
              </a:spcAft>
              <a:buAutoNum type="alphaLcParenR"/>
            </a:pPr>
            <a:r>
              <a:rPr lang="en-US" b="1" u="sng" dirty="0" smtClean="0">
                <a:solidFill>
                  <a:prstClr val="black"/>
                </a:solidFill>
                <a:latin typeface="Neo Sans Std" pitchFamily="34" charset="0"/>
                <a:cs typeface="Calibri" pitchFamily="34" charset="0"/>
              </a:rPr>
              <a:t>Cash Transactions</a:t>
            </a:r>
            <a:r>
              <a:rPr lang="en-US" b="1" dirty="0" smtClean="0">
                <a:solidFill>
                  <a:prstClr val="black"/>
                </a:solidFill>
                <a:latin typeface="Neo Sans Std" pitchFamily="34" charset="0"/>
                <a:cs typeface="Calibri" pitchFamily="34" charset="0"/>
              </a:rPr>
              <a:t>: These are the transactions which involve the immediate payment of cash.</a:t>
            </a:r>
          </a:p>
          <a:p>
            <a:pPr marL="342900" indent="-342900">
              <a:spcAft>
                <a:spcPts val="1200"/>
              </a:spcAft>
              <a:buAutoNum type="alphaLcParenR"/>
            </a:pPr>
            <a:r>
              <a:rPr lang="en-US" b="1" u="sng" dirty="0" smtClean="0">
                <a:solidFill>
                  <a:prstClr val="black"/>
                </a:solidFill>
                <a:latin typeface="Neo Sans Std" pitchFamily="34" charset="0"/>
                <a:cs typeface="Calibri" pitchFamily="34" charset="0"/>
              </a:rPr>
              <a:t>Credit Transactions</a:t>
            </a:r>
            <a:r>
              <a:rPr lang="en-US" b="1" dirty="0" smtClean="0">
                <a:solidFill>
                  <a:prstClr val="black"/>
                </a:solidFill>
                <a:latin typeface="Neo Sans Std" pitchFamily="34" charset="0"/>
                <a:cs typeface="Calibri" pitchFamily="34" charset="0"/>
              </a:rPr>
              <a:t>: These are the transactions in which payment of money or cash is postponed.</a:t>
            </a:r>
          </a:p>
          <a:p>
            <a:pPr>
              <a:spcAft>
                <a:spcPts val="1200"/>
              </a:spcAft>
            </a:pPr>
            <a:r>
              <a:rPr lang="en-US" b="1" dirty="0">
                <a:solidFill>
                  <a:prstClr val="black"/>
                </a:solidFill>
                <a:latin typeface="Neo Sans Std" pitchFamily="34" charset="0"/>
                <a:cs typeface="Calibri" pitchFamily="34" charset="0"/>
              </a:rPr>
              <a:t> </a:t>
            </a:r>
            <a:r>
              <a:rPr lang="en-US" b="1" dirty="0" smtClean="0">
                <a:solidFill>
                  <a:prstClr val="black"/>
                </a:solidFill>
                <a:latin typeface="Neo Sans Std" pitchFamily="34" charset="0"/>
                <a:cs typeface="Calibri" pitchFamily="34" charset="0"/>
              </a:rPr>
              <a:t>   </a:t>
            </a:r>
          </a:p>
        </p:txBody>
      </p:sp>
      <p:sp>
        <p:nvSpPr>
          <p:cNvPr id="30" name="TextBox 29"/>
          <p:cNvSpPr txBox="1"/>
          <p:nvPr/>
        </p:nvSpPr>
        <p:spPr>
          <a:xfrm>
            <a:off x="0" y="4445913"/>
            <a:ext cx="9144000" cy="33855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sz="2200" b="1" dirty="0" smtClean="0">
                <a:ln w="1905"/>
                <a:gradFill>
                  <a:gsLst>
                    <a:gs pos="0">
                      <a:schemeClr val="accent6">
                        <a:shade val="20000"/>
                        <a:satMod val="200000"/>
                      </a:schemeClr>
                    </a:gs>
                    <a:gs pos="78000">
                      <a:schemeClr val="accent6">
                        <a:tint val="90000"/>
                        <a:shade val="89000"/>
                        <a:satMod val="220000"/>
                      </a:schemeClr>
                    </a:gs>
                    <a:gs pos="100000">
                      <a:schemeClr val="accent6">
                        <a:tint val="12000"/>
                        <a:satMod val="255000"/>
                      </a:schemeClr>
                    </a:gs>
                  </a:gsLst>
                  <a:lin ang="5400000"/>
                </a:gra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Neo Sans Std" pitchFamily="34" charset="0"/>
                <a:ea typeface="ＭＳ Ｐゴシック" charset="0"/>
              </a:rPr>
              <a:t>5. Assets:</a:t>
            </a:r>
          </a:p>
        </p:txBody>
      </p:sp>
      <p:sp>
        <p:nvSpPr>
          <p:cNvPr id="31" name="TextBox 30"/>
          <p:cNvSpPr txBox="1"/>
          <p:nvPr/>
        </p:nvSpPr>
        <p:spPr>
          <a:xfrm>
            <a:off x="0" y="4790182"/>
            <a:ext cx="9188903" cy="1077218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spcAft>
                <a:spcPts val="1200"/>
              </a:spcAft>
            </a:pPr>
            <a:r>
              <a:rPr lang="en-US" b="1" dirty="0" smtClean="0">
                <a:solidFill>
                  <a:prstClr val="black"/>
                </a:solidFill>
                <a:latin typeface="Neo Sans Std" pitchFamily="34" charset="0"/>
                <a:cs typeface="Calibri" pitchFamily="34" charset="0"/>
              </a:rPr>
              <a:t>                    Assets are the properties or resources which are owned by the business entity.</a:t>
            </a:r>
          </a:p>
          <a:p>
            <a:pPr>
              <a:spcAft>
                <a:spcPts val="1200"/>
              </a:spcAft>
            </a:pPr>
            <a:r>
              <a:rPr lang="en-US" b="1" dirty="0" smtClean="0">
                <a:solidFill>
                  <a:prstClr val="black"/>
                </a:solidFill>
                <a:latin typeface="Neo Sans Std" pitchFamily="34" charset="0"/>
                <a:cs typeface="Calibri" pitchFamily="34" charset="0"/>
              </a:rPr>
              <a:t>Ex: Building, Land, Machinery, Furniture etc.</a:t>
            </a:r>
          </a:p>
        </p:txBody>
      </p:sp>
    </p:spTree>
    <p:extLst>
      <p:ext uri="{BB962C8B-B14F-4D97-AF65-F5344CB8AC3E}">
        <p14:creationId xmlns:p14="http://schemas.microsoft.com/office/powerpoint/2010/main" val="6083079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isInverted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8" name="Object 3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5835295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2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1" name="Straight Connector 10"/>
          <p:cNvCxnSpPr/>
          <p:nvPr/>
        </p:nvCxnSpPr>
        <p:spPr>
          <a:xfrm rot="5400000">
            <a:off x="4581414" y="-2181922"/>
            <a:ext cx="0" cy="6345044"/>
          </a:xfrm>
          <a:prstGeom prst="line">
            <a:avLst/>
          </a:prstGeom>
          <a:ln w="3175">
            <a:solidFill>
              <a:schemeClr val="bg1">
                <a:lumMod val="75000"/>
                <a:alpha val="48000"/>
              </a:schemeClr>
            </a:solidFill>
          </a:ln>
          <a:effectLst>
            <a:outerShdw blurRad="38100" algn="ctr" rotWithShape="0">
              <a:schemeClr val="tx1">
                <a:alpha val="44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3" name="TextBox 12"/>
          <p:cNvSpPr txBox="1"/>
          <p:nvPr/>
        </p:nvSpPr>
        <p:spPr>
          <a:xfrm>
            <a:off x="324531" y="115669"/>
            <a:ext cx="8543925" cy="64633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b="1" dirty="0" smtClean="0">
                <a:solidFill>
                  <a:srgbClr val="0B538F"/>
                </a:solidFill>
                <a:latin typeface="Neo Sans Std Medium" pitchFamily="34" charset="0"/>
                <a:ea typeface="ＭＳ Ｐゴシック" charset="0"/>
              </a:rPr>
              <a:t>Tally ERP.9</a:t>
            </a:r>
          </a:p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sz="2400" b="1" dirty="0" smtClean="0">
                <a:solidFill>
                  <a:srgbClr val="0B538F"/>
                </a:solidFill>
                <a:latin typeface="Neo Sans Std" pitchFamily="34" charset="0"/>
                <a:ea typeface="ＭＳ Ｐゴシック" charset="0"/>
              </a:rPr>
              <a:t>Introduction of Accounting</a:t>
            </a:r>
            <a:endParaRPr lang="en-US" sz="2400" b="1" dirty="0">
              <a:solidFill>
                <a:srgbClr val="0B538F"/>
              </a:solidFill>
              <a:latin typeface="Neo Sans Std" pitchFamily="34" charset="0"/>
              <a:ea typeface="ＭＳ Ｐゴシック" charset="0"/>
            </a:endParaRPr>
          </a:p>
        </p:txBody>
      </p:sp>
      <p:sp>
        <p:nvSpPr>
          <p:cNvPr id="30" name="TextBox 29"/>
          <p:cNvSpPr txBox="1"/>
          <p:nvPr/>
        </p:nvSpPr>
        <p:spPr>
          <a:xfrm>
            <a:off x="0" y="4724400"/>
            <a:ext cx="9144000" cy="33855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sz="2200" b="1" dirty="0" smtClean="0">
                <a:ln w="1905"/>
                <a:gradFill>
                  <a:gsLst>
                    <a:gs pos="0">
                      <a:schemeClr val="accent6">
                        <a:shade val="20000"/>
                        <a:satMod val="200000"/>
                      </a:schemeClr>
                    </a:gs>
                    <a:gs pos="78000">
                      <a:schemeClr val="accent6">
                        <a:tint val="90000"/>
                        <a:shade val="89000"/>
                        <a:satMod val="220000"/>
                      </a:schemeClr>
                    </a:gs>
                    <a:gs pos="100000">
                      <a:schemeClr val="accent6">
                        <a:tint val="12000"/>
                        <a:satMod val="255000"/>
                      </a:schemeClr>
                    </a:gs>
                  </a:gsLst>
                  <a:lin ang="5400000"/>
                </a:gra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Neo Sans Std" pitchFamily="34" charset="0"/>
                <a:ea typeface="ＭＳ Ｐゴシック" charset="0"/>
              </a:rPr>
              <a:t>8. Goods:</a:t>
            </a:r>
          </a:p>
        </p:txBody>
      </p:sp>
      <p:sp>
        <p:nvSpPr>
          <p:cNvPr id="31" name="TextBox 30"/>
          <p:cNvSpPr txBox="1"/>
          <p:nvPr/>
        </p:nvSpPr>
        <p:spPr>
          <a:xfrm>
            <a:off x="0" y="5068669"/>
            <a:ext cx="9188903" cy="1077218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spcAft>
                <a:spcPts val="1200"/>
              </a:spcAft>
            </a:pPr>
            <a:r>
              <a:rPr lang="en-US" b="1" dirty="0" smtClean="0">
                <a:solidFill>
                  <a:prstClr val="black"/>
                </a:solidFill>
                <a:latin typeface="Neo Sans Std" pitchFamily="34" charset="0"/>
                <a:cs typeface="Calibri" pitchFamily="34" charset="0"/>
              </a:rPr>
              <a:t>                    The term goods include all commodities, articles or products in which the business deals.</a:t>
            </a:r>
          </a:p>
          <a:p>
            <a:pPr>
              <a:spcAft>
                <a:spcPts val="1200"/>
              </a:spcAft>
            </a:pPr>
            <a:r>
              <a:rPr lang="en-US" b="1" dirty="0" smtClean="0">
                <a:solidFill>
                  <a:prstClr val="black"/>
                </a:solidFill>
                <a:latin typeface="Neo Sans Std" pitchFamily="34" charset="0"/>
                <a:cs typeface="Calibri" pitchFamily="34" charset="0"/>
              </a:rPr>
              <a:t>Ex: For Book seller- Books are the Goods etc</a:t>
            </a:r>
            <a:r>
              <a:rPr lang="en-US" b="1" dirty="0">
                <a:solidFill>
                  <a:prstClr val="black"/>
                </a:solidFill>
                <a:latin typeface="Neo Sans Std" pitchFamily="34" charset="0"/>
                <a:cs typeface="Calibri" pitchFamily="34" charset="0"/>
              </a:rPr>
              <a:t>.</a:t>
            </a:r>
            <a:endParaRPr lang="en-US" b="1" dirty="0" smtClean="0">
              <a:solidFill>
                <a:prstClr val="black"/>
              </a:solidFill>
              <a:latin typeface="Neo Sans Std" pitchFamily="34" charset="0"/>
              <a:cs typeface="Calibri" pitchFamily="34" charset="0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0" y="1295400"/>
            <a:ext cx="9144000" cy="33855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sz="2200" b="1" dirty="0" smtClean="0">
                <a:ln w="1905"/>
                <a:gradFill>
                  <a:gsLst>
                    <a:gs pos="0">
                      <a:schemeClr val="accent6">
                        <a:shade val="20000"/>
                        <a:satMod val="200000"/>
                      </a:schemeClr>
                    </a:gs>
                    <a:gs pos="78000">
                      <a:schemeClr val="accent6">
                        <a:tint val="90000"/>
                        <a:shade val="89000"/>
                        <a:satMod val="220000"/>
                      </a:schemeClr>
                    </a:gs>
                    <a:gs pos="100000">
                      <a:schemeClr val="accent6">
                        <a:tint val="12000"/>
                        <a:satMod val="255000"/>
                      </a:schemeClr>
                    </a:gs>
                  </a:gsLst>
                  <a:lin ang="5400000"/>
                </a:gra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Neo Sans Std" pitchFamily="34" charset="0"/>
                <a:ea typeface="ＭＳ Ｐゴシック" charset="0"/>
              </a:rPr>
              <a:t>6. Liabilities: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0" y="1639669"/>
            <a:ext cx="9188903" cy="800219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spcAft>
                <a:spcPts val="1200"/>
              </a:spcAft>
            </a:pPr>
            <a:r>
              <a:rPr lang="en-US" b="1" dirty="0" smtClean="0">
                <a:solidFill>
                  <a:prstClr val="black"/>
                </a:solidFill>
                <a:latin typeface="Neo Sans Std" pitchFamily="34" charset="0"/>
                <a:cs typeface="Calibri" pitchFamily="34" charset="0"/>
              </a:rPr>
              <a:t>                    Liabilities are the debts owed by the business entity to outsiders .</a:t>
            </a:r>
          </a:p>
          <a:p>
            <a:pPr>
              <a:spcAft>
                <a:spcPts val="1200"/>
              </a:spcAft>
            </a:pPr>
            <a:r>
              <a:rPr lang="en-US" b="1" dirty="0" smtClean="0">
                <a:solidFill>
                  <a:prstClr val="black"/>
                </a:solidFill>
                <a:latin typeface="Neo Sans Std" pitchFamily="34" charset="0"/>
                <a:cs typeface="Calibri" pitchFamily="34" charset="0"/>
              </a:rPr>
              <a:t>Ex: Amount due to suppliers(Creditors), Bills Payable, Bank Loan etc.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0" y="3090446"/>
            <a:ext cx="9144000" cy="33855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sz="2200" b="1" dirty="0" smtClean="0">
                <a:ln w="1905"/>
                <a:gradFill>
                  <a:gsLst>
                    <a:gs pos="0">
                      <a:schemeClr val="accent6">
                        <a:shade val="20000"/>
                        <a:satMod val="200000"/>
                      </a:schemeClr>
                    </a:gs>
                    <a:gs pos="78000">
                      <a:schemeClr val="accent6">
                        <a:tint val="90000"/>
                        <a:shade val="89000"/>
                        <a:satMod val="220000"/>
                      </a:schemeClr>
                    </a:gs>
                    <a:gs pos="100000">
                      <a:schemeClr val="accent6">
                        <a:tint val="12000"/>
                        <a:satMod val="255000"/>
                      </a:schemeClr>
                    </a:gs>
                  </a:gsLst>
                  <a:lin ang="5400000"/>
                </a:gra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Neo Sans Std" pitchFamily="34" charset="0"/>
                <a:ea typeface="ＭＳ Ｐゴシック" charset="0"/>
              </a:rPr>
              <a:t>7. Drawings: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0" y="3392269"/>
            <a:ext cx="9188903" cy="646331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spcAft>
                <a:spcPts val="1200"/>
              </a:spcAft>
            </a:pPr>
            <a:r>
              <a:rPr lang="en-US" b="1" dirty="0" smtClean="0">
                <a:solidFill>
                  <a:prstClr val="black"/>
                </a:solidFill>
                <a:latin typeface="Neo Sans Std" pitchFamily="34" charset="0"/>
                <a:cs typeface="Calibri" pitchFamily="34" charset="0"/>
              </a:rPr>
              <a:t>                    It is the amount of cash or the value of goods withdrawn(taken) by the owner for his personal use.</a:t>
            </a:r>
          </a:p>
        </p:txBody>
      </p:sp>
    </p:spTree>
    <p:extLst>
      <p:ext uri="{BB962C8B-B14F-4D97-AF65-F5344CB8AC3E}">
        <p14:creationId xmlns:p14="http://schemas.microsoft.com/office/powerpoint/2010/main" val="38254996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isInverted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8" name="Object 3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7803944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4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1" name="Straight Connector 10"/>
          <p:cNvCxnSpPr/>
          <p:nvPr/>
        </p:nvCxnSpPr>
        <p:spPr>
          <a:xfrm rot="5400000">
            <a:off x="4581414" y="-2181922"/>
            <a:ext cx="0" cy="6345044"/>
          </a:xfrm>
          <a:prstGeom prst="line">
            <a:avLst/>
          </a:prstGeom>
          <a:ln w="3175">
            <a:solidFill>
              <a:schemeClr val="bg1">
                <a:lumMod val="75000"/>
                <a:alpha val="48000"/>
              </a:schemeClr>
            </a:solidFill>
          </a:ln>
          <a:effectLst>
            <a:outerShdw blurRad="38100" algn="ctr" rotWithShape="0">
              <a:schemeClr val="tx1">
                <a:alpha val="44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3" name="TextBox 12"/>
          <p:cNvSpPr txBox="1"/>
          <p:nvPr/>
        </p:nvSpPr>
        <p:spPr>
          <a:xfrm>
            <a:off x="324531" y="115669"/>
            <a:ext cx="8543925" cy="64633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b="1" dirty="0" smtClean="0">
                <a:solidFill>
                  <a:srgbClr val="0B538F"/>
                </a:solidFill>
                <a:latin typeface="Neo Sans Std Medium" pitchFamily="34" charset="0"/>
                <a:ea typeface="ＭＳ Ｐゴシック" charset="0"/>
              </a:rPr>
              <a:t>Tally ERP.9</a:t>
            </a:r>
          </a:p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sz="2400" b="1" dirty="0" smtClean="0">
                <a:solidFill>
                  <a:srgbClr val="0B538F"/>
                </a:solidFill>
                <a:latin typeface="Neo Sans Std" pitchFamily="34" charset="0"/>
                <a:ea typeface="ＭＳ Ｐゴシック" charset="0"/>
              </a:rPr>
              <a:t>Introduction of Accounting</a:t>
            </a:r>
            <a:endParaRPr lang="en-US" sz="2400" b="1" dirty="0">
              <a:solidFill>
                <a:srgbClr val="0B538F"/>
              </a:solidFill>
              <a:latin typeface="Neo Sans Std" pitchFamily="34" charset="0"/>
              <a:ea typeface="ＭＳ Ｐゴシック" charset="0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0" y="1654314"/>
            <a:ext cx="9144000" cy="33855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sz="2200" b="1" dirty="0" smtClean="0">
                <a:ln w="1905"/>
                <a:gradFill>
                  <a:gsLst>
                    <a:gs pos="0">
                      <a:schemeClr val="accent6">
                        <a:shade val="20000"/>
                        <a:satMod val="200000"/>
                      </a:schemeClr>
                    </a:gs>
                    <a:gs pos="78000">
                      <a:schemeClr val="accent6">
                        <a:tint val="90000"/>
                        <a:shade val="89000"/>
                        <a:satMod val="220000"/>
                      </a:schemeClr>
                    </a:gs>
                    <a:gs pos="100000">
                      <a:schemeClr val="accent6">
                        <a:tint val="12000"/>
                        <a:satMod val="255000"/>
                      </a:schemeClr>
                    </a:gs>
                  </a:gsLst>
                  <a:lin ang="5400000"/>
                </a:gra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Neo Sans Std" pitchFamily="34" charset="0"/>
                <a:ea typeface="ＭＳ Ｐゴシック" charset="0"/>
              </a:rPr>
              <a:t>9. Sundry Debtors: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0" y="1998583"/>
            <a:ext cx="9188903" cy="1354217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spcAft>
                <a:spcPts val="1200"/>
              </a:spcAft>
            </a:pPr>
            <a:r>
              <a:rPr lang="en-US" b="1" dirty="0" smtClean="0">
                <a:solidFill>
                  <a:prstClr val="black"/>
                </a:solidFill>
                <a:latin typeface="Neo Sans Std" pitchFamily="34" charset="0"/>
                <a:cs typeface="Calibri" pitchFamily="34" charset="0"/>
              </a:rPr>
              <a:t>                    A person who owes money to the firm/business is called as Sundry Debtor. Debtors comes on account of Credit Sales.</a:t>
            </a:r>
          </a:p>
          <a:p>
            <a:pPr>
              <a:spcAft>
                <a:spcPts val="1200"/>
              </a:spcAft>
            </a:pPr>
            <a:r>
              <a:rPr lang="en-US" b="1" dirty="0" smtClean="0">
                <a:solidFill>
                  <a:prstClr val="black"/>
                </a:solidFill>
                <a:latin typeface="Neo Sans Std" pitchFamily="34" charset="0"/>
                <a:cs typeface="Calibri" pitchFamily="34" charset="0"/>
              </a:rPr>
              <a:t>Ex: When goods are sold to a person on credit, that person pays the price in future, he is called a debtor because he owes the amount to the firm.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0" y="4092714"/>
            <a:ext cx="9144000" cy="33855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sz="2200" b="1" dirty="0" smtClean="0">
                <a:ln w="1905"/>
                <a:gradFill>
                  <a:gsLst>
                    <a:gs pos="0">
                      <a:schemeClr val="accent6">
                        <a:shade val="20000"/>
                        <a:satMod val="200000"/>
                      </a:schemeClr>
                    </a:gs>
                    <a:gs pos="78000">
                      <a:schemeClr val="accent6">
                        <a:tint val="90000"/>
                        <a:shade val="89000"/>
                        <a:satMod val="220000"/>
                      </a:schemeClr>
                    </a:gs>
                    <a:gs pos="100000">
                      <a:schemeClr val="accent6">
                        <a:tint val="12000"/>
                        <a:satMod val="255000"/>
                      </a:schemeClr>
                    </a:gs>
                  </a:gsLst>
                  <a:lin ang="5400000"/>
                </a:gra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Neo Sans Std" pitchFamily="34" charset="0"/>
                <a:ea typeface="ＭＳ Ｐゴシック" charset="0"/>
              </a:rPr>
              <a:t>10. Sundry Creditors: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0" y="4436983"/>
            <a:ext cx="9188903" cy="1354217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spcAft>
                <a:spcPts val="1200"/>
              </a:spcAft>
            </a:pPr>
            <a:r>
              <a:rPr lang="en-US" b="1" dirty="0" smtClean="0">
                <a:solidFill>
                  <a:prstClr val="black"/>
                </a:solidFill>
                <a:latin typeface="Neo Sans Std" pitchFamily="34" charset="0"/>
                <a:cs typeface="Calibri" pitchFamily="34" charset="0"/>
              </a:rPr>
              <a:t>                    A person to whom money is </a:t>
            </a:r>
            <a:r>
              <a:rPr lang="en-US" b="1" dirty="0">
                <a:solidFill>
                  <a:prstClr val="black"/>
                </a:solidFill>
                <a:latin typeface="Neo Sans Std" pitchFamily="34" charset="0"/>
                <a:cs typeface="Calibri" pitchFamily="34" charset="0"/>
              </a:rPr>
              <a:t>o</a:t>
            </a:r>
            <a:r>
              <a:rPr lang="en-US" b="1" dirty="0" smtClean="0">
                <a:solidFill>
                  <a:prstClr val="black"/>
                </a:solidFill>
                <a:latin typeface="Neo Sans Std" pitchFamily="34" charset="0"/>
                <a:cs typeface="Calibri" pitchFamily="34" charset="0"/>
              </a:rPr>
              <a:t>wing by the firm is called as Sundry Creditor. Creditors comes on account of Credit Purchases.</a:t>
            </a:r>
          </a:p>
          <a:p>
            <a:pPr>
              <a:spcAft>
                <a:spcPts val="1200"/>
              </a:spcAft>
            </a:pPr>
            <a:r>
              <a:rPr lang="en-US" b="1" dirty="0" smtClean="0">
                <a:solidFill>
                  <a:prstClr val="black"/>
                </a:solidFill>
                <a:latin typeface="Neo Sans Std" pitchFamily="34" charset="0"/>
                <a:cs typeface="Calibri" pitchFamily="34" charset="0"/>
              </a:rPr>
              <a:t>Ex: If firm purchases goods from Mr. X on credit, then Mr. X becomes creditor to the firm.</a:t>
            </a:r>
          </a:p>
        </p:txBody>
      </p:sp>
    </p:spTree>
    <p:extLst>
      <p:ext uri="{BB962C8B-B14F-4D97-AF65-F5344CB8AC3E}">
        <p14:creationId xmlns:p14="http://schemas.microsoft.com/office/powerpoint/2010/main" val="11211785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isInverted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8" name="Object 3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2845895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9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1" name="Straight Connector 10"/>
          <p:cNvCxnSpPr/>
          <p:nvPr/>
        </p:nvCxnSpPr>
        <p:spPr>
          <a:xfrm rot="5400000">
            <a:off x="4581414" y="-2181922"/>
            <a:ext cx="0" cy="6345044"/>
          </a:xfrm>
          <a:prstGeom prst="line">
            <a:avLst/>
          </a:prstGeom>
          <a:ln w="3175">
            <a:solidFill>
              <a:schemeClr val="bg1">
                <a:lumMod val="75000"/>
                <a:alpha val="48000"/>
              </a:schemeClr>
            </a:solidFill>
          </a:ln>
          <a:effectLst>
            <a:outerShdw blurRad="38100" algn="ctr" rotWithShape="0">
              <a:schemeClr val="tx1">
                <a:alpha val="44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3" name="TextBox 12"/>
          <p:cNvSpPr txBox="1"/>
          <p:nvPr/>
        </p:nvSpPr>
        <p:spPr>
          <a:xfrm>
            <a:off x="324531" y="115669"/>
            <a:ext cx="8543925" cy="64633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b="1" dirty="0" smtClean="0">
                <a:solidFill>
                  <a:srgbClr val="0B538F"/>
                </a:solidFill>
                <a:latin typeface="Neo Sans Std Medium" pitchFamily="34" charset="0"/>
                <a:ea typeface="ＭＳ Ｐゴシック" charset="0"/>
              </a:rPr>
              <a:t>Tally ERP.9</a:t>
            </a:r>
          </a:p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sz="2400" b="1" dirty="0" smtClean="0">
                <a:solidFill>
                  <a:srgbClr val="0B538F"/>
                </a:solidFill>
                <a:latin typeface="Neo Sans Std" pitchFamily="34" charset="0"/>
                <a:ea typeface="ＭＳ Ｐゴシック" charset="0"/>
              </a:rPr>
              <a:t>Introduction of Accounting</a:t>
            </a:r>
            <a:endParaRPr lang="en-US" sz="2400" b="1" dirty="0">
              <a:solidFill>
                <a:srgbClr val="0B538F"/>
              </a:solidFill>
              <a:latin typeface="Neo Sans Std" pitchFamily="34" charset="0"/>
              <a:ea typeface="ＭＳ Ｐゴシック" charset="0"/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0" y="1143000"/>
            <a:ext cx="9144000" cy="33855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sz="2200" b="1" dirty="0" smtClean="0">
                <a:ln w="1905"/>
                <a:gradFill>
                  <a:gsLst>
                    <a:gs pos="0">
                      <a:schemeClr val="accent6">
                        <a:shade val="20000"/>
                        <a:satMod val="200000"/>
                      </a:schemeClr>
                    </a:gs>
                    <a:gs pos="78000">
                      <a:schemeClr val="accent6">
                        <a:tint val="90000"/>
                        <a:shade val="89000"/>
                        <a:satMod val="220000"/>
                      </a:schemeClr>
                    </a:gs>
                    <a:gs pos="100000">
                      <a:schemeClr val="accent6">
                        <a:tint val="12000"/>
                        <a:satMod val="255000"/>
                      </a:schemeClr>
                    </a:gs>
                  </a:gsLst>
                  <a:lin ang="5400000"/>
                </a:gra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Neo Sans Std" pitchFamily="34" charset="0"/>
                <a:ea typeface="ＭＳ Ｐゴシック" charset="0"/>
              </a:rPr>
              <a:t>11. Purchases:</a:t>
            </a:r>
            <a:endParaRPr lang="en-US" sz="2200" b="1" dirty="0">
              <a:ln w="1905"/>
              <a:gradFill>
                <a:gsLst>
                  <a:gs pos="0">
                    <a:schemeClr val="accent6">
                      <a:shade val="20000"/>
                      <a:satMod val="200000"/>
                    </a:schemeClr>
                  </a:gs>
                  <a:gs pos="78000">
                    <a:schemeClr val="accent6">
                      <a:tint val="90000"/>
                      <a:shade val="89000"/>
                      <a:satMod val="220000"/>
                    </a:schemeClr>
                  </a:gs>
                  <a:gs pos="100000">
                    <a:schemeClr val="accent6">
                      <a:tint val="12000"/>
                      <a:satMod val="255000"/>
                    </a:schemeClr>
                  </a:gs>
                </a:gsLst>
                <a:lin ang="5400000"/>
              </a:gradFill>
              <a:effectLst>
                <a:innerShdw blurRad="69850" dist="43180" dir="5400000">
                  <a:srgbClr val="000000">
                    <a:alpha val="65000"/>
                  </a:srgbClr>
                </a:innerShdw>
              </a:effectLst>
              <a:latin typeface="Neo Sans Std" pitchFamily="34" charset="0"/>
              <a:ea typeface="ＭＳ Ｐゴシック" charset="0"/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0" y="1503640"/>
            <a:ext cx="9170875" cy="2646878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spcAft>
                <a:spcPts val="1200"/>
              </a:spcAft>
            </a:pPr>
            <a:r>
              <a:rPr lang="en-US" b="1" dirty="0" smtClean="0">
                <a:solidFill>
                  <a:prstClr val="black"/>
                </a:solidFill>
                <a:latin typeface="Neo Sans Std" pitchFamily="34" charset="0"/>
                <a:cs typeface="Calibri" pitchFamily="34" charset="0"/>
              </a:rPr>
              <a:t>                     The term purchase means goods are bought for resale.</a:t>
            </a:r>
          </a:p>
          <a:p>
            <a:pPr>
              <a:spcAft>
                <a:spcPts val="1200"/>
              </a:spcAft>
            </a:pPr>
            <a:r>
              <a:rPr lang="en-US" b="1" dirty="0">
                <a:solidFill>
                  <a:prstClr val="black"/>
                </a:solidFill>
                <a:latin typeface="Neo Sans Std" pitchFamily="34" charset="0"/>
                <a:cs typeface="Calibri" pitchFamily="34" charset="0"/>
              </a:rPr>
              <a:t> </a:t>
            </a:r>
            <a:r>
              <a:rPr lang="en-US" b="1" dirty="0" smtClean="0">
                <a:solidFill>
                  <a:prstClr val="black"/>
                </a:solidFill>
                <a:latin typeface="Neo Sans Std" pitchFamily="34" charset="0"/>
                <a:cs typeface="Calibri" pitchFamily="34" charset="0"/>
              </a:rPr>
              <a:t>      </a:t>
            </a:r>
            <a:r>
              <a:rPr lang="en-US" b="1" u="sng" dirty="0" smtClean="0">
                <a:solidFill>
                  <a:prstClr val="black"/>
                </a:solidFill>
                <a:latin typeface="Neo Sans Std" pitchFamily="34" charset="0"/>
                <a:cs typeface="Calibri" pitchFamily="34" charset="0"/>
              </a:rPr>
              <a:t>Types of Purchases</a:t>
            </a:r>
            <a:r>
              <a:rPr lang="en-US" b="1" dirty="0" smtClean="0">
                <a:solidFill>
                  <a:prstClr val="black"/>
                </a:solidFill>
                <a:latin typeface="Neo Sans Std" pitchFamily="34" charset="0"/>
                <a:cs typeface="Calibri" pitchFamily="34" charset="0"/>
              </a:rPr>
              <a:t>:</a:t>
            </a:r>
          </a:p>
          <a:p>
            <a:pPr marL="342900" indent="-342900">
              <a:spcAft>
                <a:spcPts val="1200"/>
              </a:spcAft>
              <a:buAutoNum type="alphaLcParenR"/>
            </a:pPr>
            <a:r>
              <a:rPr lang="en-US" b="1" u="sng" dirty="0" smtClean="0">
                <a:solidFill>
                  <a:prstClr val="black"/>
                </a:solidFill>
                <a:latin typeface="Neo Sans Std" pitchFamily="34" charset="0"/>
                <a:cs typeface="Calibri" pitchFamily="34" charset="0"/>
              </a:rPr>
              <a:t>Cash Purchases</a:t>
            </a:r>
            <a:r>
              <a:rPr lang="en-US" b="1" dirty="0" smtClean="0">
                <a:solidFill>
                  <a:prstClr val="black"/>
                </a:solidFill>
                <a:latin typeface="Neo Sans Std" pitchFamily="34" charset="0"/>
                <a:cs typeface="Calibri" pitchFamily="34" charset="0"/>
              </a:rPr>
              <a:t>: If cash is paid immediately for the purchase of goods is called as Cash </a:t>
            </a:r>
            <a:r>
              <a:rPr lang="en-US" b="1" dirty="0">
                <a:solidFill>
                  <a:prstClr val="black"/>
                </a:solidFill>
                <a:latin typeface="Neo Sans Std" pitchFamily="34" charset="0"/>
                <a:cs typeface="Calibri" pitchFamily="34" charset="0"/>
              </a:rPr>
              <a:t>P</a:t>
            </a:r>
            <a:r>
              <a:rPr lang="en-US" b="1" dirty="0" smtClean="0">
                <a:solidFill>
                  <a:prstClr val="black"/>
                </a:solidFill>
                <a:latin typeface="Neo Sans Std" pitchFamily="34" charset="0"/>
                <a:cs typeface="Calibri" pitchFamily="34" charset="0"/>
              </a:rPr>
              <a:t>urchases.</a:t>
            </a:r>
          </a:p>
          <a:p>
            <a:pPr marL="342900" indent="-342900">
              <a:spcAft>
                <a:spcPts val="1200"/>
              </a:spcAft>
              <a:buAutoNum type="alphaLcParenR"/>
            </a:pPr>
            <a:r>
              <a:rPr lang="en-US" b="1" u="sng" dirty="0" smtClean="0">
                <a:solidFill>
                  <a:prstClr val="black"/>
                </a:solidFill>
                <a:latin typeface="Neo Sans Std" pitchFamily="34" charset="0"/>
                <a:cs typeface="Calibri" pitchFamily="34" charset="0"/>
              </a:rPr>
              <a:t>Credit </a:t>
            </a:r>
            <a:r>
              <a:rPr lang="en-US" b="1" u="sng" dirty="0">
                <a:solidFill>
                  <a:prstClr val="black"/>
                </a:solidFill>
                <a:latin typeface="Neo Sans Std" pitchFamily="34" charset="0"/>
                <a:cs typeface="Calibri" pitchFamily="34" charset="0"/>
              </a:rPr>
              <a:t>Purchases </a:t>
            </a:r>
            <a:r>
              <a:rPr lang="en-US" b="1" dirty="0" smtClean="0">
                <a:solidFill>
                  <a:prstClr val="black"/>
                </a:solidFill>
                <a:latin typeface="Neo Sans Std" pitchFamily="34" charset="0"/>
                <a:cs typeface="Calibri" pitchFamily="34" charset="0"/>
              </a:rPr>
              <a:t>: If the payment for the purchase of goods is postponed I called as </a:t>
            </a:r>
            <a:r>
              <a:rPr lang="en-US" b="1" dirty="0">
                <a:solidFill>
                  <a:prstClr val="black"/>
                </a:solidFill>
                <a:latin typeface="Neo Sans Std" pitchFamily="34" charset="0"/>
                <a:cs typeface="Calibri" pitchFamily="34" charset="0"/>
              </a:rPr>
              <a:t>C</a:t>
            </a:r>
            <a:r>
              <a:rPr lang="en-US" b="1" dirty="0" smtClean="0">
                <a:solidFill>
                  <a:prstClr val="black"/>
                </a:solidFill>
                <a:latin typeface="Neo Sans Std" pitchFamily="34" charset="0"/>
                <a:cs typeface="Calibri" pitchFamily="34" charset="0"/>
              </a:rPr>
              <a:t>redit Purchases.</a:t>
            </a:r>
          </a:p>
          <a:p>
            <a:pPr>
              <a:spcAft>
                <a:spcPts val="1200"/>
              </a:spcAft>
            </a:pPr>
            <a:r>
              <a:rPr lang="en-US" b="1" dirty="0">
                <a:solidFill>
                  <a:prstClr val="black"/>
                </a:solidFill>
                <a:latin typeface="Neo Sans Std" pitchFamily="34" charset="0"/>
                <a:cs typeface="Calibri" pitchFamily="34" charset="0"/>
              </a:rPr>
              <a:t> </a:t>
            </a:r>
            <a:r>
              <a:rPr lang="en-US" b="1" dirty="0" smtClean="0">
                <a:solidFill>
                  <a:prstClr val="black"/>
                </a:solidFill>
                <a:latin typeface="Neo Sans Std" pitchFamily="34" charset="0"/>
                <a:cs typeface="Calibri" pitchFamily="34" charset="0"/>
              </a:rPr>
              <a:t>   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0" y="4099679"/>
            <a:ext cx="9144000" cy="33855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sz="2200" b="1" dirty="0" smtClean="0">
                <a:ln w="1905"/>
                <a:gradFill>
                  <a:gsLst>
                    <a:gs pos="0">
                      <a:schemeClr val="accent6">
                        <a:shade val="20000"/>
                        <a:satMod val="200000"/>
                      </a:schemeClr>
                    </a:gs>
                    <a:gs pos="78000">
                      <a:schemeClr val="accent6">
                        <a:tint val="90000"/>
                        <a:shade val="89000"/>
                        <a:satMod val="220000"/>
                      </a:schemeClr>
                    </a:gs>
                    <a:gs pos="100000">
                      <a:schemeClr val="accent6">
                        <a:tint val="12000"/>
                        <a:satMod val="255000"/>
                      </a:schemeClr>
                    </a:gs>
                  </a:gsLst>
                  <a:lin ang="5400000"/>
                </a:gra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Neo Sans Std" pitchFamily="34" charset="0"/>
                <a:ea typeface="ＭＳ Ｐゴシック" charset="0"/>
              </a:rPr>
              <a:t>12. Sales:</a:t>
            </a:r>
            <a:endParaRPr lang="en-US" sz="2200" b="1" dirty="0">
              <a:ln w="1905"/>
              <a:gradFill>
                <a:gsLst>
                  <a:gs pos="0">
                    <a:schemeClr val="accent6">
                      <a:shade val="20000"/>
                      <a:satMod val="200000"/>
                    </a:schemeClr>
                  </a:gs>
                  <a:gs pos="78000">
                    <a:schemeClr val="accent6">
                      <a:tint val="90000"/>
                      <a:shade val="89000"/>
                      <a:satMod val="220000"/>
                    </a:schemeClr>
                  </a:gs>
                  <a:gs pos="100000">
                    <a:schemeClr val="accent6">
                      <a:tint val="12000"/>
                      <a:satMod val="255000"/>
                    </a:schemeClr>
                  </a:gs>
                </a:gsLst>
                <a:lin ang="5400000"/>
              </a:gradFill>
              <a:effectLst>
                <a:innerShdw blurRad="69850" dist="43180" dir="5400000">
                  <a:srgbClr val="000000">
                    <a:alpha val="65000"/>
                  </a:srgbClr>
                </a:innerShdw>
              </a:effectLst>
              <a:latin typeface="Neo Sans Std" pitchFamily="34" charset="0"/>
              <a:ea typeface="ＭＳ Ｐゴシック" charset="0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0" y="4460319"/>
            <a:ext cx="9170875" cy="2092881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spcAft>
                <a:spcPts val="1200"/>
              </a:spcAft>
            </a:pPr>
            <a:r>
              <a:rPr lang="en-US" b="1" dirty="0" smtClean="0">
                <a:solidFill>
                  <a:prstClr val="black"/>
                </a:solidFill>
                <a:latin typeface="Neo Sans Std" pitchFamily="34" charset="0"/>
                <a:cs typeface="Calibri" pitchFamily="34" charset="0"/>
              </a:rPr>
              <a:t>                     When the goods purchased are sold out is known as Sales.</a:t>
            </a:r>
          </a:p>
          <a:p>
            <a:pPr>
              <a:spcAft>
                <a:spcPts val="1200"/>
              </a:spcAft>
            </a:pPr>
            <a:r>
              <a:rPr lang="en-US" b="1" dirty="0">
                <a:solidFill>
                  <a:prstClr val="black"/>
                </a:solidFill>
                <a:latin typeface="Neo Sans Std" pitchFamily="34" charset="0"/>
                <a:cs typeface="Calibri" pitchFamily="34" charset="0"/>
              </a:rPr>
              <a:t> </a:t>
            </a:r>
            <a:r>
              <a:rPr lang="en-US" b="1" dirty="0" smtClean="0">
                <a:solidFill>
                  <a:prstClr val="black"/>
                </a:solidFill>
                <a:latin typeface="Neo Sans Std" pitchFamily="34" charset="0"/>
                <a:cs typeface="Calibri" pitchFamily="34" charset="0"/>
              </a:rPr>
              <a:t>      </a:t>
            </a:r>
            <a:r>
              <a:rPr lang="en-US" b="1" u="sng" dirty="0" smtClean="0">
                <a:solidFill>
                  <a:prstClr val="black"/>
                </a:solidFill>
                <a:latin typeface="Neo Sans Std" pitchFamily="34" charset="0"/>
                <a:cs typeface="Calibri" pitchFamily="34" charset="0"/>
              </a:rPr>
              <a:t>Types of Sales</a:t>
            </a:r>
            <a:r>
              <a:rPr lang="en-US" b="1" dirty="0" smtClean="0">
                <a:solidFill>
                  <a:prstClr val="black"/>
                </a:solidFill>
                <a:latin typeface="Neo Sans Std" pitchFamily="34" charset="0"/>
                <a:cs typeface="Calibri" pitchFamily="34" charset="0"/>
              </a:rPr>
              <a:t>:</a:t>
            </a:r>
          </a:p>
          <a:p>
            <a:pPr marL="342900" indent="-342900">
              <a:spcAft>
                <a:spcPts val="1200"/>
              </a:spcAft>
              <a:buAutoNum type="alphaLcParenR"/>
            </a:pPr>
            <a:r>
              <a:rPr lang="en-US" b="1" u="sng" dirty="0">
                <a:solidFill>
                  <a:prstClr val="black"/>
                </a:solidFill>
                <a:latin typeface="Neo Sans Std" pitchFamily="34" charset="0"/>
                <a:cs typeface="Calibri" pitchFamily="34" charset="0"/>
              </a:rPr>
              <a:t>Cash Sales </a:t>
            </a:r>
            <a:r>
              <a:rPr lang="en-US" b="1" dirty="0" smtClean="0">
                <a:solidFill>
                  <a:prstClr val="black"/>
                </a:solidFill>
                <a:latin typeface="Neo Sans Std" pitchFamily="34" charset="0"/>
                <a:cs typeface="Calibri" pitchFamily="34" charset="0"/>
              </a:rPr>
              <a:t>: If the sale is for immediate cash payment, it is </a:t>
            </a:r>
            <a:r>
              <a:rPr lang="en-US" b="1" dirty="0">
                <a:solidFill>
                  <a:prstClr val="black"/>
                </a:solidFill>
                <a:latin typeface="Neo Sans Std" pitchFamily="34" charset="0"/>
                <a:cs typeface="Calibri" pitchFamily="34" charset="0"/>
              </a:rPr>
              <a:t>C</a:t>
            </a:r>
            <a:r>
              <a:rPr lang="en-US" b="1" dirty="0" smtClean="0">
                <a:solidFill>
                  <a:prstClr val="black"/>
                </a:solidFill>
                <a:latin typeface="Neo Sans Std" pitchFamily="34" charset="0"/>
                <a:cs typeface="Calibri" pitchFamily="34" charset="0"/>
              </a:rPr>
              <a:t>ash Sales</a:t>
            </a:r>
          </a:p>
          <a:p>
            <a:pPr marL="342900" indent="-342900">
              <a:spcAft>
                <a:spcPts val="1200"/>
              </a:spcAft>
              <a:buAutoNum type="alphaLcParenR"/>
            </a:pPr>
            <a:r>
              <a:rPr lang="en-US" b="1" u="sng" dirty="0" smtClean="0">
                <a:solidFill>
                  <a:prstClr val="black"/>
                </a:solidFill>
                <a:latin typeface="Neo Sans Std" pitchFamily="34" charset="0"/>
                <a:cs typeface="Calibri" pitchFamily="34" charset="0"/>
              </a:rPr>
              <a:t>Credit </a:t>
            </a:r>
            <a:r>
              <a:rPr lang="en-US" b="1" u="sng" dirty="0">
                <a:solidFill>
                  <a:prstClr val="black"/>
                </a:solidFill>
                <a:latin typeface="Neo Sans Std" pitchFamily="34" charset="0"/>
                <a:cs typeface="Calibri" pitchFamily="34" charset="0"/>
              </a:rPr>
              <a:t>Sales</a:t>
            </a:r>
            <a:r>
              <a:rPr lang="en-US" b="1" u="sng" dirty="0" smtClean="0">
                <a:solidFill>
                  <a:prstClr val="black"/>
                </a:solidFill>
                <a:latin typeface="Neo Sans Std" pitchFamily="34" charset="0"/>
                <a:cs typeface="Calibri" pitchFamily="34" charset="0"/>
              </a:rPr>
              <a:t> </a:t>
            </a:r>
            <a:r>
              <a:rPr lang="en-US" b="1" dirty="0" smtClean="0">
                <a:solidFill>
                  <a:prstClr val="black"/>
                </a:solidFill>
                <a:latin typeface="Neo Sans Std" pitchFamily="34" charset="0"/>
                <a:cs typeface="Calibri" pitchFamily="34" charset="0"/>
              </a:rPr>
              <a:t>: If payment for sales is postponed, it is Credit Sales.</a:t>
            </a:r>
          </a:p>
          <a:p>
            <a:pPr>
              <a:spcAft>
                <a:spcPts val="1200"/>
              </a:spcAft>
            </a:pPr>
            <a:r>
              <a:rPr lang="en-US" b="1" dirty="0">
                <a:solidFill>
                  <a:prstClr val="black"/>
                </a:solidFill>
                <a:latin typeface="Neo Sans Std" pitchFamily="34" charset="0"/>
                <a:cs typeface="Calibri" pitchFamily="34" charset="0"/>
              </a:rPr>
              <a:t> </a:t>
            </a:r>
            <a:r>
              <a:rPr lang="en-US" b="1" dirty="0" smtClean="0">
                <a:solidFill>
                  <a:prstClr val="black"/>
                </a:solidFill>
                <a:latin typeface="Neo Sans Std" pitchFamily="34" charset="0"/>
                <a:cs typeface="Calibri" pitchFamily="34" charset="0"/>
              </a:rPr>
              <a:t>   </a:t>
            </a:r>
          </a:p>
        </p:txBody>
      </p:sp>
    </p:spTree>
    <p:extLst>
      <p:ext uri="{BB962C8B-B14F-4D97-AF65-F5344CB8AC3E}">
        <p14:creationId xmlns:p14="http://schemas.microsoft.com/office/powerpoint/2010/main" val="4091996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isInverted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99211074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69614847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8" name="Object 3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8492739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50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1" name="Straight Connector 10"/>
          <p:cNvCxnSpPr/>
          <p:nvPr/>
        </p:nvCxnSpPr>
        <p:spPr>
          <a:xfrm rot="5400000">
            <a:off x="4581414" y="-2181922"/>
            <a:ext cx="0" cy="6345044"/>
          </a:xfrm>
          <a:prstGeom prst="line">
            <a:avLst/>
          </a:prstGeom>
          <a:ln w="3175">
            <a:solidFill>
              <a:schemeClr val="bg1">
                <a:lumMod val="75000"/>
                <a:alpha val="48000"/>
              </a:schemeClr>
            </a:solidFill>
          </a:ln>
          <a:effectLst>
            <a:outerShdw blurRad="38100" algn="ctr" rotWithShape="0">
              <a:schemeClr val="tx1">
                <a:alpha val="44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3" name="TextBox 12"/>
          <p:cNvSpPr txBox="1"/>
          <p:nvPr/>
        </p:nvSpPr>
        <p:spPr>
          <a:xfrm>
            <a:off x="324531" y="115669"/>
            <a:ext cx="8543925" cy="64633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b="1" dirty="0" smtClean="0">
                <a:solidFill>
                  <a:srgbClr val="0B538F"/>
                </a:solidFill>
                <a:latin typeface="Neo Sans Std Medium" pitchFamily="34" charset="0"/>
                <a:ea typeface="ＭＳ Ｐゴシック" charset="0"/>
              </a:rPr>
              <a:t>Tally ERP.9</a:t>
            </a:r>
          </a:p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sz="2400" b="1" dirty="0" smtClean="0">
                <a:solidFill>
                  <a:srgbClr val="0B538F"/>
                </a:solidFill>
                <a:latin typeface="Neo Sans Std" pitchFamily="34" charset="0"/>
                <a:ea typeface="ＭＳ Ｐゴシック" charset="0"/>
              </a:rPr>
              <a:t>Introduction of Accounting</a:t>
            </a:r>
            <a:endParaRPr lang="en-US" sz="2400" b="1" dirty="0">
              <a:solidFill>
                <a:srgbClr val="0B538F"/>
              </a:solidFill>
              <a:latin typeface="Neo Sans Std" pitchFamily="34" charset="0"/>
              <a:ea typeface="ＭＳ Ｐゴシック" charset="0"/>
            </a:endParaRPr>
          </a:p>
        </p:txBody>
      </p:sp>
      <p:sp>
        <p:nvSpPr>
          <p:cNvPr id="30" name="TextBox 29"/>
          <p:cNvSpPr txBox="1"/>
          <p:nvPr/>
        </p:nvSpPr>
        <p:spPr>
          <a:xfrm>
            <a:off x="0" y="4848999"/>
            <a:ext cx="9144000" cy="33855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sz="2200" b="1" dirty="0" smtClean="0">
                <a:ln w="1905"/>
                <a:gradFill>
                  <a:gsLst>
                    <a:gs pos="0">
                      <a:schemeClr val="accent6">
                        <a:shade val="20000"/>
                        <a:satMod val="200000"/>
                      </a:schemeClr>
                    </a:gs>
                    <a:gs pos="78000">
                      <a:schemeClr val="accent6">
                        <a:tint val="90000"/>
                        <a:shade val="89000"/>
                        <a:satMod val="220000"/>
                      </a:schemeClr>
                    </a:gs>
                    <a:gs pos="100000">
                      <a:schemeClr val="accent6">
                        <a:tint val="12000"/>
                        <a:satMod val="255000"/>
                      </a:schemeClr>
                    </a:gs>
                  </a:gsLst>
                  <a:lin ang="5400000"/>
                </a:gra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Neo Sans Std" pitchFamily="34" charset="0"/>
                <a:ea typeface="ＭＳ Ｐゴシック" charset="0"/>
              </a:rPr>
              <a:t>15. Stock(Inventory):</a:t>
            </a:r>
          </a:p>
        </p:txBody>
      </p:sp>
      <p:sp>
        <p:nvSpPr>
          <p:cNvPr id="31" name="TextBox 30"/>
          <p:cNvSpPr txBox="1"/>
          <p:nvPr/>
        </p:nvSpPr>
        <p:spPr>
          <a:xfrm>
            <a:off x="0" y="5193268"/>
            <a:ext cx="9188903" cy="369332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spcAft>
                <a:spcPts val="1200"/>
              </a:spcAft>
            </a:pPr>
            <a:r>
              <a:rPr lang="en-US" b="1" dirty="0" smtClean="0">
                <a:solidFill>
                  <a:prstClr val="black"/>
                </a:solidFill>
                <a:latin typeface="Neo Sans Std" pitchFamily="34" charset="0"/>
                <a:cs typeface="Calibri" pitchFamily="34" charset="0"/>
              </a:rPr>
              <a:t>                    Unsold goods are called as Stock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0" y="1447800"/>
            <a:ext cx="9144000" cy="33855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sz="2200" b="1" dirty="0" smtClean="0">
                <a:ln w="1905"/>
                <a:gradFill>
                  <a:gsLst>
                    <a:gs pos="0">
                      <a:schemeClr val="accent6">
                        <a:shade val="20000"/>
                        <a:satMod val="200000"/>
                      </a:schemeClr>
                    </a:gs>
                    <a:gs pos="78000">
                      <a:schemeClr val="accent6">
                        <a:tint val="90000"/>
                        <a:shade val="89000"/>
                        <a:satMod val="220000"/>
                      </a:schemeClr>
                    </a:gs>
                    <a:gs pos="100000">
                      <a:schemeClr val="accent6">
                        <a:tint val="12000"/>
                        <a:satMod val="255000"/>
                      </a:schemeClr>
                    </a:gs>
                  </a:gsLst>
                  <a:lin ang="5400000"/>
                </a:gra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Neo Sans Std" pitchFamily="34" charset="0"/>
                <a:ea typeface="ＭＳ Ｐゴシック" charset="0"/>
              </a:rPr>
              <a:t>13. Purchase Returns (Return Outwards):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0" y="1792069"/>
            <a:ext cx="9188903" cy="646331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spcAft>
                <a:spcPts val="1200"/>
              </a:spcAft>
            </a:pPr>
            <a:r>
              <a:rPr lang="en-US" b="1" dirty="0" smtClean="0">
                <a:solidFill>
                  <a:prstClr val="black"/>
                </a:solidFill>
                <a:latin typeface="Neo Sans Std" pitchFamily="34" charset="0"/>
                <a:cs typeface="Calibri" pitchFamily="34" charset="0"/>
              </a:rPr>
              <a:t>                    It means the goods which were purchased are now returned to the supplier due to poor quality, bad packaging.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0" y="3200400"/>
            <a:ext cx="9144000" cy="33855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sz="2200" b="1" dirty="0" smtClean="0">
                <a:ln w="1905"/>
                <a:gradFill>
                  <a:gsLst>
                    <a:gs pos="0">
                      <a:schemeClr val="accent6">
                        <a:shade val="20000"/>
                        <a:satMod val="200000"/>
                      </a:schemeClr>
                    </a:gs>
                    <a:gs pos="78000">
                      <a:schemeClr val="accent6">
                        <a:tint val="90000"/>
                        <a:shade val="89000"/>
                        <a:satMod val="220000"/>
                      </a:schemeClr>
                    </a:gs>
                    <a:gs pos="100000">
                      <a:schemeClr val="accent6">
                        <a:tint val="12000"/>
                        <a:satMod val="255000"/>
                      </a:schemeClr>
                    </a:gs>
                  </a:gsLst>
                  <a:lin ang="5400000"/>
                </a:gra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Neo Sans Std" pitchFamily="34" charset="0"/>
                <a:ea typeface="ＭＳ Ｐゴシック" charset="0"/>
              </a:rPr>
              <a:t>14. Sales </a:t>
            </a:r>
            <a:r>
              <a:rPr lang="en-US" sz="2200" b="1" dirty="0">
                <a:ln w="1905"/>
                <a:gradFill>
                  <a:gsLst>
                    <a:gs pos="0">
                      <a:schemeClr val="accent6">
                        <a:shade val="20000"/>
                        <a:satMod val="200000"/>
                      </a:schemeClr>
                    </a:gs>
                    <a:gs pos="78000">
                      <a:schemeClr val="accent6">
                        <a:tint val="90000"/>
                        <a:shade val="89000"/>
                        <a:satMod val="220000"/>
                      </a:schemeClr>
                    </a:gs>
                    <a:gs pos="100000">
                      <a:schemeClr val="accent6">
                        <a:tint val="12000"/>
                        <a:satMod val="255000"/>
                      </a:schemeClr>
                    </a:gs>
                  </a:gsLst>
                  <a:lin ang="5400000"/>
                </a:gra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Neo Sans Std" pitchFamily="34" charset="0"/>
                <a:ea typeface="ＭＳ Ｐゴシック" charset="0"/>
              </a:rPr>
              <a:t>Returns (Return </a:t>
            </a:r>
            <a:r>
              <a:rPr lang="en-US" sz="2200" b="1" dirty="0" smtClean="0">
                <a:ln w="1905"/>
                <a:gradFill>
                  <a:gsLst>
                    <a:gs pos="0">
                      <a:schemeClr val="accent6">
                        <a:shade val="20000"/>
                        <a:satMod val="200000"/>
                      </a:schemeClr>
                    </a:gs>
                    <a:gs pos="78000">
                      <a:schemeClr val="accent6">
                        <a:tint val="90000"/>
                        <a:shade val="89000"/>
                        <a:satMod val="220000"/>
                      </a:schemeClr>
                    </a:gs>
                    <a:gs pos="100000">
                      <a:schemeClr val="accent6">
                        <a:tint val="12000"/>
                        <a:satMod val="255000"/>
                      </a:schemeClr>
                    </a:gs>
                  </a:gsLst>
                  <a:lin ang="5400000"/>
                </a:gra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Neo Sans Std" pitchFamily="34" charset="0"/>
                <a:ea typeface="ＭＳ Ｐゴシック" charset="0"/>
              </a:rPr>
              <a:t>Inwards):</a:t>
            </a:r>
            <a:endParaRPr lang="en-US" sz="2200" b="1" dirty="0">
              <a:ln w="1905"/>
              <a:gradFill>
                <a:gsLst>
                  <a:gs pos="0">
                    <a:schemeClr val="accent6">
                      <a:shade val="20000"/>
                      <a:satMod val="200000"/>
                    </a:schemeClr>
                  </a:gs>
                  <a:gs pos="78000">
                    <a:schemeClr val="accent6">
                      <a:tint val="90000"/>
                      <a:shade val="89000"/>
                      <a:satMod val="220000"/>
                    </a:schemeClr>
                  </a:gs>
                  <a:gs pos="100000">
                    <a:schemeClr val="accent6">
                      <a:tint val="12000"/>
                      <a:satMod val="255000"/>
                    </a:schemeClr>
                  </a:gs>
                </a:gsLst>
                <a:lin ang="5400000"/>
              </a:gradFill>
              <a:effectLst>
                <a:innerShdw blurRad="69850" dist="43180" dir="5400000">
                  <a:srgbClr val="000000">
                    <a:alpha val="65000"/>
                  </a:srgbClr>
                </a:innerShdw>
              </a:effectLst>
              <a:latin typeface="Neo Sans Std" pitchFamily="34" charset="0"/>
              <a:ea typeface="ＭＳ Ｐゴシック" charset="0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0" y="3502223"/>
            <a:ext cx="9188903" cy="646331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spcAft>
                <a:spcPts val="1200"/>
              </a:spcAft>
            </a:pPr>
            <a:r>
              <a:rPr lang="en-US" b="1" dirty="0" smtClean="0">
                <a:solidFill>
                  <a:prstClr val="black"/>
                </a:solidFill>
                <a:latin typeface="Neo Sans Std" pitchFamily="34" charset="0"/>
                <a:cs typeface="Calibri" pitchFamily="34" charset="0"/>
              </a:rPr>
              <a:t>                    It means the goods which were sold to customers are now returned for the same reasons stated above.</a:t>
            </a:r>
          </a:p>
        </p:txBody>
      </p:sp>
    </p:spTree>
    <p:extLst>
      <p:ext uri="{BB962C8B-B14F-4D97-AF65-F5344CB8AC3E}">
        <p14:creationId xmlns:p14="http://schemas.microsoft.com/office/powerpoint/2010/main" val="25648974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isInverted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8" name="Object 3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6391174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52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1" name="Straight Connector 10"/>
          <p:cNvCxnSpPr/>
          <p:nvPr/>
        </p:nvCxnSpPr>
        <p:spPr>
          <a:xfrm rot="5400000">
            <a:off x="4581414" y="-2181922"/>
            <a:ext cx="0" cy="6345044"/>
          </a:xfrm>
          <a:prstGeom prst="line">
            <a:avLst/>
          </a:prstGeom>
          <a:ln w="3175">
            <a:solidFill>
              <a:schemeClr val="bg1">
                <a:lumMod val="75000"/>
                <a:alpha val="48000"/>
              </a:schemeClr>
            </a:solidFill>
          </a:ln>
          <a:effectLst>
            <a:outerShdw blurRad="38100" algn="ctr" rotWithShape="0">
              <a:schemeClr val="tx1">
                <a:alpha val="44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3" name="TextBox 12"/>
          <p:cNvSpPr txBox="1"/>
          <p:nvPr/>
        </p:nvSpPr>
        <p:spPr>
          <a:xfrm>
            <a:off x="324531" y="115669"/>
            <a:ext cx="8543925" cy="64633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b="1" dirty="0" smtClean="0">
                <a:solidFill>
                  <a:srgbClr val="0B538F"/>
                </a:solidFill>
                <a:latin typeface="Neo Sans Std Medium" pitchFamily="34" charset="0"/>
                <a:ea typeface="ＭＳ Ｐゴシック" charset="0"/>
              </a:rPr>
              <a:t>Tally ERP.9</a:t>
            </a:r>
          </a:p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sz="2400" b="1" dirty="0" smtClean="0">
                <a:solidFill>
                  <a:srgbClr val="0B538F"/>
                </a:solidFill>
                <a:latin typeface="Neo Sans Std" pitchFamily="34" charset="0"/>
                <a:ea typeface="ＭＳ Ｐゴシック" charset="0"/>
              </a:rPr>
              <a:t>Introduction of Accounting</a:t>
            </a:r>
            <a:endParaRPr lang="en-US" sz="2400" b="1" dirty="0">
              <a:solidFill>
                <a:srgbClr val="0B538F"/>
              </a:solidFill>
              <a:latin typeface="Neo Sans Std" pitchFamily="34" charset="0"/>
              <a:ea typeface="ＭＳ Ｐゴシック" charset="0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0" y="1066800"/>
            <a:ext cx="9144000" cy="33855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sz="2200" b="1" dirty="0" smtClean="0">
                <a:ln w="1905"/>
                <a:gradFill>
                  <a:gsLst>
                    <a:gs pos="0">
                      <a:schemeClr val="accent6">
                        <a:shade val="20000"/>
                        <a:satMod val="200000"/>
                      </a:schemeClr>
                    </a:gs>
                    <a:gs pos="78000">
                      <a:schemeClr val="accent6">
                        <a:tint val="90000"/>
                        <a:shade val="89000"/>
                        <a:satMod val="220000"/>
                      </a:schemeClr>
                    </a:gs>
                    <a:gs pos="100000">
                      <a:schemeClr val="accent6">
                        <a:tint val="12000"/>
                        <a:satMod val="255000"/>
                      </a:schemeClr>
                    </a:gs>
                  </a:gsLst>
                  <a:lin ang="5400000"/>
                </a:gra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Neo Sans Std" pitchFamily="34" charset="0"/>
                <a:ea typeface="ＭＳ Ｐゴシック" charset="0"/>
              </a:rPr>
              <a:t>16. Account: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0" y="1411069"/>
            <a:ext cx="9188903" cy="646331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spcAft>
                <a:spcPts val="1200"/>
              </a:spcAft>
            </a:pPr>
            <a:r>
              <a:rPr lang="en-US" b="1" dirty="0" smtClean="0">
                <a:solidFill>
                  <a:prstClr val="black"/>
                </a:solidFill>
                <a:latin typeface="Neo Sans Std" pitchFamily="34" charset="0"/>
                <a:cs typeface="Calibri" pitchFamily="34" charset="0"/>
              </a:rPr>
              <a:t>                    Account is a record of the various dealings which occur between a customer &amp; the firm. The short form of Account is “A/c”.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0" y="2402682"/>
            <a:ext cx="9144000" cy="33855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sz="2200" b="1" dirty="0" smtClean="0">
                <a:ln w="1905"/>
                <a:gradFill>
                  <a:gsLst>
                    <a:gs pos="0">
                      <a:schemeClr val="accent6">
                        <a:shade val="20000"/>
                        <a:satMod val="200000"/>
                      </a:schemeClr>
                    </a:gs>
                    <a:gs pos="78000">
                      <a:schemeClr val="accent6">
                        <a:tint val="90000"/>
                        <a:shade val="89000"/>
                        <a:satMod val="220000"/>
                      </a:schemeClr>
                    </a:gs>
                    <a:gs pos="100000">
                      <a:schemeClr val="accent6">
                        <a:tint val="12000"/>
                        <a:satMod val="255000"/>
                      </a:schemeClr>
                    </a:gs>
                  </a:gsLst>
                  <a:lin ang="5400000"/>
                </a:gra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Neo Sans Std" pitchFamily="34" charset="0"/>
                <a:ea typeface="ＭＳ Ｐゴシック" charset="0"/>
              </a:rPr>
              <a:t>17. Discount:</a:t>
            </a:r>
            <a:endParaRPr lang="en-US" sz="2200" b="1" dirty="0">
              <a:ln w="1905"/>
              <a:gradFill>
                <a:gsLst>
                  <a:gs pos="0">
                    <a:schemeClr val="accent6">
                      <a:shade val="20000"/>
                      <a:satMod val="200000"/>
                    </a:schemeClr>
                  </a:gs>
                  <a:gs pos="78000">
                    <a:schemeClr val="accent6">
                      <a:tint val="90000"/>
                      <a:shade val="89000"/>
                      <a:satMod val="220000"/>
                    </a:schemeClr>
                  </a:gs>
                  <a:gs pos="100000">
                    <a:schemeClr val="accent6">
                      <a:tint val="12000"/>
                      <a:satMod val="255000"/>
                    </a:schemeClr>
                  </a:gs>
                </a:gsLst>
                <a:lin ang="5400000"/>
              </a:gradFill>
              <a:effectLst>
                <a:innerShdw blurRad="69850" dist="43180" dir="5400000">
                  <a:srgbClr val="000000">
                    <a:alpha val="65000"/>
                  </a:srgbClr>
                </a:innerShdw>
              </a:effectLst>
              <a:latin typeface="Neo Sans Std" pitchFamily="34" charset="0"/>
              <a:ea typeface="ＭＳ Ｐゴシック" charset="0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0" y="2763322"/>
            <a:ext cx="9170875" cy="2923877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spcAft>
                <a:spcPts val="1200"/>
              </a:spcAft>
            </a:pPr>
            <a:r>
              <a:rPr lang="en-US" b="1" dirty="0" smtClean="0">
                <a:solidFill>
                  <a:prstClr val="black"/>
                </a:solidFill>
                <a:latin typeface="Neo Sans Std" pitchFamily="34" charset="0"/>
                <a:cs typeface="Calibri" pitchFamily="34" charset="0"/>
              </a:rPr>
              <a:t>                     Deduction in the prices of goods is called as </a:t>
            </a:r>
            <a:r>
              <a:rPr lang="en-US" b="1" dirty="0" err="1" smtClean="0">
                <a:solidFill>
                  <a:prstClr val="black"/>
                </a:solidFill>
                <a:latin typeface="Neo Sans Std" pitchFamily="34" charset="0"/>
                <a:cs typeface="Calibri" pitchFamily="34" charset="0"/>
              </a:rPr>
              <a:t>Discount.It</a:t>
            </a:r>
            <a:r>
              <a:rPr lang="en-US" b="1" dirty="0" smtClean="0">
                <a:solidFill>
                  <a:prstClr val="black"/>
                </a:solidFill>
                <a:latin typeface="Neo Sans Std" pitchFamily="34" charset="0"/>
                <a:cs typeface="Calibri" pitchFamily="34" charset="0"/>
              </a:rPr>
              <a:t> is usually expressed in terms of Percentage(%).</a:t>
            </a:r>
          </a:p>
          <a:p>
            <a:pPr>
              <a:spcAft>
                <a:spcPts val="1200"/>
              </a:spcAft>
            </a:pPr>
            <a:r>
              <a:rPr lang="en-US" b="1" dirty="0">
                <a:solidFill>
                  <a:prstClr val="black"/>
                </a:solidFill>
                <a:latin typeface="Neo Sans Std" pitchFamily="34" charset="0"/>
                <a:cs typeface="Calibri" pitchFamily="34" charset="0"/>
              </a:rPr>
              <a:t> </a:t>
            </a:r>
            <a:r>
              <a:rPr lang="en-US" b="1" dirty="0" smtClean="0">
                <a:solidFill>
                  <a:prstClr val="black"/>
                </a:solidFill>
                <a:latin typeface="Neo Sans Std" pitchFamily="34" charset="0"/>
                <a:cs typeface="Calibri" pitchFamily="34" charset="0"/>
              </a:rPr>
              <a:t>      </a:t>
            </a:r>
            <a:r>
              <a:rPr lang="en-US" b="1" u="sng" dirty="0" smtClean="0">
                <a:solidFill>
                  <a:prstClr val="black"/>
                </a:solidFill>
                <a:latin typeface="Neo Sans Std" pitchFamily="34" charset="0"/>
                <a:cs typeface="Calibri" pitchFamily="34" charset="0"/>
              </a:rPr>
              <a:t>Types of Discount</a:t>
            </a:r>
            <a:r>
              <a:rPr lang="en-US" b="1" dirty="0" smtClean="0">
                <a:solidFill>
                  <a:prstClr val="black"/>
                </a:solidFill>
                <a:latin typeface="Neo Sans Std" pitchFamily="34" charset="0"/>
                <a:cs typeface="Calibri" pitchFamily="34" charset="0"/>
              </a:rPr>
              <a:t>:</a:t>
            </a:r>
          </a:p>
          <a:p>
            <a:pPr marL="342900" indent="-342900">
              <a:spcAft>
                <a:spcPts val="1200"/>
              </a:spcAft>
              <a:buAutoNum type="alphaLcParenR"/>
            </a:pPr>
            <a:r>
              <a:rPr lang="en-US" b="1" u="sng" dirty="0" smtClean="0">
                <a:solidFill>
                  <a:prstClr val="black"/>
                </a:solidFill>
                <a:latin typeface="Neo Sans Std" pitchFamily="34" charset="0"/>
                <a:cs typeface="Calibri" pitchFamily="34" charset="0"/>
              </a:rPr>
              <a:t>Trade </a:t>
            </a:r>
            <a:r>
              <a:rPr lang="en-US" b="1" u="sng" dirty="0">
                <a:solidFill>
                  <a:prstClr val="black"/>
                </a:solidFill>
                <a:latin typeface="Neo Sans Std" pitchFamily="34" charset="0"/>
                <a:cs typeface="Calibri" pitchFamily="34" charset="0"/>
              </a:rPr>
              <a:t>Discount </a:t>
            </a:r>
            <a:r>
              <a:rPr lang="en-US" b="1" dirty="0" smtClean="0">
                <a:solidFill>
                  <a:prstClr val="black"/>
                </a:solidFill>
                <a:latin typeface="Neo Sans Std" pitchFamily="34" charset="0"/>
                <a:cs typeface="Calibri" pitchFamily="34" charset="0"/>
              </a:rPr>
              <a:t>: It is allowed/earned at the time of sales/purchases on the basis of quantity.</a:t>
            </a:r>
          </a:p>
          <a:p>
            <a:pPr marL="342900" indent="-342900">
              <a:spcAft>
                <a:spcPts val="1200"/>
              </a:spcAft>
              <a:buAutoNum type="alphaLcParenR"/>
            </a:pPr>
            <a:r>
              <a:rPr lang="en-US" b="1" u="sng" dirty="0">
                <a:solidFill>
                  <a:prstClr val="black"/>
                </a:solidFill>
                <a:latin typeface="Neo Sans Std" pitchFamily="34" charset="0"/>
                <a:cs typeface="Calibri" pitchFamily="34" charset="0"/>
              </a:rPr>
              <a:t>C</a:t>
            </a:r>
            <a:r>
              <a:rPr lang="en-US" b="1" u="sng" dirty="0" smtClean="0">
                <a:solidFill>
                  <a:prstClr val="black"/>
                </a:solidFill>
                <a:latin typeface="Neo Sans Std" pitchFamily="34" charset="0"/>
                <a:cs typeface="Calibri" pitchFamily="34" charset="0"/>
              </a:rPr>
              <a:t>ash </a:t>
            </a:r>
            <a:r>
              <a:rPr lang="en-US" b="1" u="sng" dirty="0">
                <a:solidFill>
                  <a:prstClr val="black"/>
                </a:solidFill>
                <a:latin typeface="Neo Sans Std" pitchFamily="34" charset="0"/>
                <a:cs typeface="Calibri" pitchFamily="34" charset="0"/>
              </a:rPr>
              <a:t>Discount</a:t>
            </a:r>
            <a:r>
              <a:rPr lang="en-US" b="1" u="sng" dirty="0" smtClean="0">
                <a:solidFill>
                  <a:prstClr val="black"/>
                </a:solidFill>
                <a:latin typeface="Neo Sans Std" pitchFamily="34" charset="0"/>
                <a:cs typeface="Calibri" pitchFamily="34" charset="0"/>
              </a:rPr>
              <a:t> </a:t>
            </a:r>
            <a:r>
              <a:rPr lang="en-US" b="1" dirty="0" smtClean="0">
                <a:solidFill>
                  <a:prstClr val="black"/>
                </a:solidFill>
                <a:latin typeface="Neo Sans Std" pitchFamily="34" charset="0"/>
                <a:cs typeface="Calibri" pitchFamily="34" charset="0"/>
              </a:rPr>
              <a:t>: Cash Discount is allowed to the Debtors for quick payment of debt. </a:t>
            </a:r>
          </a:p>
          <a:p>
            <a:pPr>
              <a:spcAft>
                <a:spcPts val="1200"/>
              </a:spcAft>
            </a:pPr>
            <a:r>
              <a:rPr lang="en-US" b="1" dirty="0">
                <a:solidFill>
                  <a:prstClr val="black"/>
                </a:solidFill>
                <a:latin typeface="Neo Sans Std" pitchFamily="34" charset="0"/>
                <a:cs typeface="Calibri" pitchFamily="34" charset="0"/>
              </a:rPr>
              <a:t> </a:t>
            </a:r>
            <a:r>
              <a:rPr lang="en-US" b="1" dirty="0" smtClean="0">
                <a:solidFill>
                  <a:prstClr val="black"/>
                </a:solidFill>
                <a:latin typeface="Neo Sans Std" pitchFamily="34" charset="0"/>
                <a:cs typeface="Calibri" pitchFamily="34" charset="0"/>
              </a:rPr>
              <a:t>   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0" y="5486400"/>
            <a:ext cx="9144000" cy="33855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sz="2200" b="1" dirty="0" smtClean="0">
                <a:ln w="1905"/>
                <a:gradFill>
                  <a:gsLst>
                    <a:gs pos="0">
                      <a:schemeClr val="accent6">
                        <a:shade val="20000"/>
                        <a:satMod val="200000"/>
                      </a:schemeClr>
                    </a:gs>
                    <a:gs pos="78000">
                      <a:schemeClr val="accent6">
                        <a:tint val="90000"/>
                        <a:shade val="89000"/>
                        <a:satMod val="220000"/>
                      </a:schemeClr>
                    </a:gs>
                    <a:gs pos="100000">
                      <a:schemeClr val="accent6">
                        <a:tint val="12000"/>
                        <a:satMod val="255000"/>
                      </a:schemeClr>
                    </a:gs>
                  </a:gsLst>
                  <a:lin ang="5400000"/>
                </a:gra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Neo Sans Std" pitchFamily="34" charset="0"/>
                <a:ea typeface="ＭＳ Ｐゴシック" charset="0"/>
              </a:rPr>
              <a:t>18. Invoice / Bill: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0" y="5830669"/>
            <a:ext cx="9188903" cy="369332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spcAft>
                <a:spcPts val="1200"/>
              </a:spcAft>
            </a:pPr>
            <a:r>
              <a:rPr lang="en-US" b="1" dirty="0" smtClean="0">
                <a:solidFill>
                  <a:prstClr val="black"/>
                </a:solidFill>
                <a:latin typeface="Neo Sans Std" pitchFamily="34" charset="0"/>
                <a:cs typeface="Calibri" pitchFamily="34" charset="0"/>
              </a:rPr>
              <a:t>                    It is a commercial document issued by a seller to a buyer.</a:t>
            </a:r>
          </a:p>
        </p:txBody>
      </p:sp>
    </p:spTree>
    <p:extLst>
      <p:ext uri="{BB962C8B-B14F-4D97-AF65-F5344CB8AC3E}">
        <p14:creationId xmlns:p14="http://schemas.microsoft.com/office/powerpoint/2010/main" val="42597937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isInverted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8" name="Object 3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3383432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53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1" name="Straight Connector 10"/>
          <p:cNvCxnSpPr/>
          <p:nvPr/>
        </p:nvCxnSpPr>
        <p:spPr>
          <a:xfrm rot="5400000">
            <a:off x="4581414" y="-2181922"/>
            <a:ext cx="0" cy="6345044"/>
          </a:xfrm>
          <a:prstGeom prst="line">
            <a:avLst/>
          </a:prstGeom>
          <a:ln w="3175">
            <a:solidFill>
              <a:schemeClr val="bg1">
                <a:lumMod val="75000"/>
                <a:alpha val="48000"/>
              </a:schemeClr>
            </a:solidFill>
          </a:ln>
          <a:effectLst>
            <a:outerShdw blurRad="38100" algn="ctr" rotWithShape="0">
              <a:schemeClr val="tx1">
                <a:alpha val="44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3" name="TextBox 12"/>
          <p:cNvSpPr txBox="1"/>
          <p:nvPr/>
        </p:nvSpPr>
        <p:spPr>
          <a:xfrm>
            <a:off x="324531" y="115669"/>
            <a:ext cx="8543925" cy="64633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b="1" dirty="0" smtClean="0">
                <a:solidFill>
                  <a:srgbClr val="0B538F"/>
                </a:solidFill>
                <a:latin typeface="Neo Sans Std Medium" pitchFamily="34" charset="0"/>
                <a:ea typeface="ＭＳ Ｐゴシック" charset="0"/>
              </a:rPr>
              <a:t>Tally ERP.9</a:t>
            </a:r>
          </a:p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sz="2400" b="1" dirty="0" smtClean="0">
                <a:solidFill>
                  <a:srgbClr val="0B538F"/>
                </a:solidFill>
                <a:latin typeface="Neo Sans Std" pitchFamily="34" charset="0"/>
                <a:ea typeface="ＭＳ Ｐゴシック" charset="0"/>
              </a:rPr>
              <a:t>Introduction of Accounting</a:t>
            </a:r>
            <a:endParaRPr lang="en-US" sz="2400" b="1" dirty="0">
              <a:solidFill>
                <a:srgbClr val="0B538F"/>
              </a:solidFill>
              <a:latin typeface="Neo Sans Std" pitchFamily="34" charset="0"/>
              <a:ea typeface="ＭＳ Ｐゴシック" charset="0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0" y="1261646"/>
            <a:ext cx="9076646" cy="33855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sz="2200" b="1" dirty="0" smtClean="0">
                <a:solidFill>
                  <a:srgbClr val="0B538F"/>
                </a:solidFill>
                <a:latin typeface="Neo Sans Std" pitchFamily="34" charset="0"/>
                <a:ea typeface="ＭＳ Ｐゴシック" charset="0"/>
              </a:rPr>
              <a:t>Accounting Year:</a:t>
            </a:r>
            <a:endParaRPr lang="en-US" sz="2200" b="1" dirty="0">
              <a:solidFill>
                <a:srgbClr val="0B538F"/>
              </a:solidFill>
              <a:latin typeface="Neo Sans Std" pitchFamily="34" charset="0"/>
              <a:ea typeface="ＭＳ Ｐゴシック" charset="0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210571" y="1676400"/>
            <a:ext cx="8866075" cy="1938992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spcAft>
                <a:spcPts val="1200"/>
              </a:spcAft>
            </a:pPr>
            <a:r>
              <a:rPr lang="en-US" b="1" dirty="0" smtClean="0">
                <a:solidFill>
                  <a:prstClr val="black"/>
                </a:solidFill>
                <a:latin typeface="Neo Sans Std" pitchFamily="34" charset="0"/>
                <a:cs typeface="Calibri" pitchFamily="34" charset="0"/>
              </a:rPr>
              <a:t>                          It is generally a period of 12 months during which the accounts are maintained.</a:t>
            </a:r>
          </a:p>
          <a:p>
            <a:pPr>
              <a:spcAft>
                <a:spcPts val="1200"/>
              </a:spcAft>
            </a:pPr>
            <a:r>
              <a:rPr lang="en-US" b="1" dirty="0">
                <a:solidFill>
                  <a:prstClr val="black"/>
                </a:solidFill>
                <a:latin typeface="Neo Sans Std" pitchFamily="34" charset="0"/>
                <a:cs typeface="Calibri" pitchFamily="34" charset="0"/>
              </a:rPr>
              <a:t> </a:t>
            </a:r>
            <a:r>
              <a:rPr lang="en-US" b="1" dirty="0" smtClean="0">
                <a:solidFill>
                  <a:prstClr val="black"/>
                </a:solidFill>
                <a:latin typeface="Neo Sans Std" pitchFamily="34" charset="0"/>
                <a:cs typeface="Calibri" pitchFamily="34" charset="0"/>
              </a:rPr>
              <a:t>            An Accounting Year may be a,</a:t>
            </a:r>
          </a:p>
          <a:p>
            <a:pPr>
              <a:spcAft>
                <a:spcPts val="1200"/>
              </a:spcAft>
            </a:pPr>
            <a:r>
              <a:rPr lang="en-US" b="1" dirty="0" smtClean="0">
                <a:solidFill>
                  <a:prstClr val="black"/>
                </a:solidFill>
                <a:latin typeface="Neo Sans Std" pitchFamily="34" charset="0"/>
                <a:cs typeface="Calibri" pitchFamily="34" charset="0"/>
              </a:rPr>
              <a:t>a)</a:t>
            </a:r>
            <a:r>
              <a:rPr lang="en-US" b="1" u="sng" dirty="0" smtClean="0">
                <a:solidFill>
                  <a:prstClr val="black"/>
                </a:solidFill>
                <a:latin typeface="Neo Sans Std" pitchFamily="34" charset="0"/>
                <a:cs typeface="Calibri" pitchFamily="34" charset="0"/>
              </a:rPr>
              <a:t>Calendar Year</a:t>
            </a:r>
            <a:r>
              <a:rPr lang="en-US" b="1" dirty="0" smtClean="0">
                <a:solidFill>
                  <a:prstClr val="black"/>
                </a:solidFill>
                <a:latin typeface="Neo Sans Std" pitchFamily="34" charset="0"/>
                <a:cs typeface="Calibri" pitchFamily="34" charset="0"/>
              </a:rPr>
              <a:t>: 1</a:t>
            </a:r>
            <a:r>
              <a:rPr lang="en-US" b="1" baseline="30000" dirty="0" smtClean="0">
                <a:solidFill>
                  <a:prstClr val="black"/>
                </a:solidFill>
                <a:latin typeface="Neo Sans Std" pitchFamily="34" charset="0"/>
                <a:cs typeface="Calibri" pitchFamily="34" charset="0"/>
              </a:rPr>
              <a:t>st</a:t>
            </a:r>
            <a:r>
              <a:rPr lang="en-US" b="1" dirty="0" smtClean="0">
                <a:solidFill>
                  <a:prstClr val="black"/>
                </a:solidFill>
                <a:latin typeface="Neo Sans Std" pitchFamily="34" charset="0"/>
                <a:cs typeface="Calibri" pitchFamily="34" charset="0"/>
              </a:rPr>
              <a:t> January to 31</a:t>
            </a:r>
            <a:r>
              <a:rPr lang="en-US" b="1" baseline="30000" dirty="0" smtClean="0">
                <a:solidFill>
                  <a:prstClr val="black"/>
                </a:solidFill>
                <a:latin typeface="Neo Sans Std" pitchFamily="34" charset="0"/>
                <a:cs typeface="Calibri" pitchFamily="34" charset="0"/>
              </a:rPr>
              <a:t>st</a:t>
            </a:r>
            <a:r>
              <a:rPr lang="en-US" b="1" dirty="0" smtClean="0">
                <a:solidFill>
                  <a:prstClr val="black"/>
                </a:solidFill>
                <a:latin typeface="Neo Sans Std" pitchFamily="34" charset="0"/>
                <a:cs typeface="Calibri" pitchFamily="34" charset="0"/>
              </a:rPr>
              <a:t> December.</a:t>
            </a:r>
          </a:p>
          <a:p>
            <a:pPr>
              <a:spcAft>
                <a:spcPts val="1200"/>
              </a:spcAft>
            </a:pPr>
            <a:r>
              <a:rPr lang="en-US" b="1" dirty="0" smtClean="0">
                <a:solidFill>
                  <a:prstClr val="black"/>
                </a:solidFill>
                <a:latin typeface="Neo Sans Std" pitchFamily="34" charset="0"/>
                <a:cs typeface="Calibri" pitchFamily="34" charset="0"/>
              </a:rPr>
              <a:t>b)</a:t>
            </a:r>
            <a:r>
              <a:rPr lang="en-US" b="1" u="sng" dirty="0" smtClean="0">
                <a:solidFill>
                  <a:prstClr val="black"/>
                </a:solidFill>
                <a:latin typeface="Neo Sans Std" pitchFamily="34" charset="0"/>
                <a:cs typeface="Calibri" pitchFamily="34" charset="0"/>
              </a:rPr>
              <a:t>Financial Year</a:t>
            </a:r>
            <a:r>
              <a:rPr lang="en-US" b="1" dirty="0" smtClean="0">
                <a:solidFill>
                  <a:prstClr val="black"/>
                </a:solidFill>
                <a:latin typeface="Neo Sans Std" pitchFamily="34" charset="0"/>
                <a:cs typeface="Calibri" pitchFamily="34" charset="0"/>
              </a:rPr>
              <a:t>: 1</a:t>
            </a:r>
            <a:r>
              <a:rPr lang="en-US" b="1" baseline="30000" dirty="0" smtClean="0">
                <a:solidFill>
                  <a:prstClr val="black"/>
                </a:solidFill>
                <a:latin typeface="Neo Sans Std" pitchFamily="34" charset="0"/>
                <a:cs typeface="Calibri" pitchFamily="34" charset="0"/>
              </a:rPr>
              <a:t>st</a:t>
            </a:r>
            <a:r>
              <a:rPr lang="en-US" b="1" dirty="0" smtClean="0">
                <a:solidFill>
                  <a:prstClr val="black"/>
                </a:solidFill>
                <a:latin typeface="Neo Sans Std" pitchFamily="34" charset="0"/>
                <a:cs typeface="Calibri" pitchFamily="34" charset="0"/>
              </a:rPr>
              <a:t> April to 31</a:t>
            </a:r>
            <a:r>
              <a:rPr lang="en-US" b="1" baseline="30000" dirty="0" smtClean="0">
                <a:solidFill>
                  <a:prstClr val="black"/>
                </a:solidFill>
                <a:latin typeface="Neo Sans Std" pitchFamily="34" charset="0"/>
                <a:cs typeface="Calibri" pitchFamily="34" charset="0"/>
              </a:rPr>
              <a:t>st</a:t>
            </a:r>
            <a:r>
              <a:rPr lang="en-US" b="1" dirty="0" smtClean="0">
                <a:solidFill>
                  <a:prstClr val="black"/>
                </a:solidFill>
                <a:latin typeface="Neo Sans Std" pitchFamily="34" charset="0"/>
                <a:cs typeface="Calibri" pitchFamily="34" charset="0"/>
              </a:rPr>
              <a:t> March.</a:t>
            </a:r>
            <a:endParaRPr lang="en-US" b="1" dirty="0">
              <a:solidFill>
                <a:prstClr val="black"/>
              </a:solidFill>
              <a:latin typeface="Neo Sans Std" pitchFamily="34" charset="0"/>
              <a:cs typeface="Calibri" pitchFamily="34" charset="0"/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0" y="4233446"/>
            <a:ext cx="9144000" cy="33855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sz="2200" b="1" dirty="0" smtClean="0">
                <a:solidFill>
                  <a:srgbClr val="0B538F"/>
                </a:solidFill>
                <a:latin typeface="Neo Sans Std" pitchFamily="34" charset="0"/>
                <a:ea typeface="ＭＳ Ｐゴシック" charset="0"/>
              </a:rPr>
              <a:t>Methods of Accounting Process:</a:t>
            </a:r>
            <a:endParaRPr lang="en-US" sz="2200" b="1" dirty="0">
              <a:solidFill>
                <a:srgbClr val="0B538F"/>
              </a:solidFill>
              <a:latin typeface="Neo Sans Std" pitchFamily="34" charset="0"/>
              <a:ea typeface="ＭＳ Ｐゴシック" charset="0"/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476931" y="4864894"/>
            <a:ext cx="8599715" cy="1231106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marL="285750" indent="-285750">
              <a:spcAft>
                <a:spcPts val="1200"/>
              </a:spcAft>
              <a:buBlip>
                <a:blip r:embed="rId6"/>
              </a:buBlip>
            </a:pPr>
            <a:r>
              <a:rPr lang="en-US" b="1" dirty="0" smtClean="0">
                <a:solidFill>
                  <a:prstClr val="black"/>
                </a:solidFill>
                <a:latin typeface="Neo Sans Std" pitchFamily="34" charset="0"/>
                <a:cs typeface="Calibri" pitchFamily="34" charset="0"/>
              </a:rPr>
              <a:t>Manual Process.</a:t>
            </a:r>
          </a:p>
          <a:p>
            <a:pPr marL="285750" indent="-285750">
              <a:spcAft>
                <a:spcPts val="1200"/>
              </a:spcAft>
              <a:buBlip>
                <a:blip r:embed="rId6"/>
              </a:buBlip>
            </a:pPr>
            <a:r>
              <a:rPr lang="en-US" b="1" dirty="0" err="1" smtClean="0">
                <a:solidFill>
                  <a:prstClr val="black"/>
                </a:solidFill>
                <a:latin typeface="Neo Sans Std" pitchFamily="34" charset="0"/>
                <a:cs typeface="Calibri" pitchFamily="34" charset="0"/>
              </a:rPr>
              <a:t>Computerised</a:t>
            </a:r>
            <a:r>
              <a:rPr lang="en-US" b="1" dirty="0" smtClean="0">
                <a:solidFill>
                  <a:prstClr val="black"/>
                </a:solidFill>
                <a:latin typeface="Neo Sans Std" pitchFamily="34" charset="0"/>
                <a:cs typeface="Calibri" pitchFamily="34" charset="0"/>
              </a:rPr>
              <a:t> Process.</a:t>
            </a:r>
          </a:p>
          <a:p>
            <a:pPr marL="285750" indent="-285750">
              <a:spcAft>
                <a:spcPts val="1200"/>
              </a:spcAft>
              <a:buBlip>
                <a:blip r:embed="rId6"/>
              </a:buBlip>
            </a:pPr>
            <a:endParaRPr lang="en-US" b="1" dirty="0">
              <a:solidFill>
                <a:prstClr val="black"/>
              </a:solidFill>
              <a:latin typeface="Neo Sans Std" pitchFamily="34" charset="0"/>
              <a:cs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048613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isInverted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8" name="Object 3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5557774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0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1" name="Straight Connector 10"/>
          <p:cNvCxnSpPr/>
          <p:nvPr/>
        </p:nvCxnSpPr>
        <p:spPr>
          <a:xfrm rot="5400000">
            <a:off x="4581414" y="-2181922"/>
            <a:ext cx="0" cy="6345044"/>
          </a:xfrm>
          <a:prstGeom prst="line">
            <a:avLst/>
          </a:prstGeom>
          <a:ln w="3175">
            <a:solidFill>
              <a:schemeClr val="bg1">
                <a:lumMod val="75000"/>
                <a:alpha val="48000"/>
              </a:schemeClr>
            </a:solidFill>
          </a:ln>
          <a:effectLst>
            <a:outerShdw blurRad="38100" algn="ctr" rotWithShape="0">
              <a:schemeClr val="tx1">
                <a:alpha val="44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0" name="TextBox 39"/>
          <p:cNvSpPr txBox="1"/>
          <p:nvPr/>
        </p:nvSpPr>
        <p:spPr>
          <a:xfrm>
            <a:off x="0" y="1447800"/>
            <a:ext cx="9076646" cy="646331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spcAft>
                <a:spcPts val="1200"/>
              </a:spcAft>
            </a:pPr>
            <a:r>
              <a:rPr lang="en-US" b="1" dirty="0" smtClean="0">
                <a:solidFill>
                  <a:prstClr val="black"/>
                </a:solidFill>
                <a:latin typeface="Neo Sans Std" pitchFamily="34" charset="0"/>
                <a:cs typeface="Calibri" pitchFamily="34" charset="0"/>
              </a:rPr>
              <a:t>                                    When an businessmen start the business, he needs to maintain the books of accounts to have the records.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324531" y="115669"/>
            <a:ext cx="8543925" cy="64633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b="1" dirty="0" smtClean="0">
                <a:solidFill>
                  <a:srgbClr val="0B538F"/>
                </a:solidFill>
                <a:latin typeface="Neo Sans Std Medium" pitchFamily="34" charset="0"/>
                <a:ea typeface="ＭＳ Ｐゴシック" charset="0"/>
              </a:rPr>
              <a:t>Tally ERP.9</a:t>
            </a:r>
          </a:p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sz="2400" b="1" dirty="0" smtClean="0">
                <a:solidFill>
                  <a:srgbClr val="0B538F"/>
                </a:solidFill>
                <a:latin typeface="Neo Sans Std" pitchFamily="34" charset="0"/>
                <a:ea typeface="ＭＳ Ｐゴシック" charset="0"/>
              </a:rPr>
              <a:t>Introduction of Accounting</a:t>
            </a:r>
            <a:endParaRPr lang="en-US" sz="2400" b="1" dirty="0">
              <a:solidFill>
                <a:srgbClr val="0B538F"/>
              </a:solidFill>
              <a:latin typeface="Neo Sans Std" pitchFamily="34" charset="0"/>
              <a:ea typeface="ＭＳ Ｐゴシック" charset="0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0" y="2480846"/>
            <a:ext cx="9144000" cy="33855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sz="2200" b="1" dirty="0" smtClean="0">
                <a:solidFill>
                  <a:srgbClr val="0B538F"/>
                </a:solidFill>
                <a:latin typeface="Neo Sans Std" pitchFamily="34" charset="0"/>
                <a:ea typeface="ＭＳ Ｐゴシック" charset="0"/>
              </a:rPr>
              <a:t>Book-keeping:</a:t>
            </a:r>
            <a:endParaRPr lang="en-US" sz="2200" b="1" dirty="0">
              <a:solidFill>
                <a:srgbClr val="0B538F"/>
              </a:solidFill>
              <a:latin typeface="Neo Sans Std" pitchFamily="34" charset="0"/>
              <a:ea typeface="ＭＳ Ｐゴシック" charset="0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0" y="3011269"/>
            <a:ext cx="9076645" cy="646331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spcAft>
                <a:spcPts val="1200"/>
              </a:spcAft>
            </a:pPr>
            <a:r>
              <a:rPr lang="en-US" b="1" dirty="0" smtClean="0">
                <a:solidFill>
                  <a:prstClr val="black"/>
                </a:solidFill>
                <a:latin typeface="Neo Sans Std" pitchFamily="34" charset="0"/>
                <a:cs typeface="Calibri" pitchFamily="34" charset="0"/>
              </a:rPr>
              <a:t>                          The </a:t>
            </a:r>
            <a:r>
              <a:rPr lang="en-US" b="1" dirty="0" err="1" smtClean="0">
                <a:solidFill>
                  <a:prstClr val="black"/>
                </a:solidFill>
                <a:latin typeface="Neo Sans Std" pitchFamily="34" charset="0"/>
                <a:cs typeface="Calibri" pitchFamily="34" charset="0"/>
              </a:rPr>
              <a:t>maintainance</a:t>
            </a:r>
            <a:r>
              <a:rPr lang="en-US" b="1" dirty="0" smtClean="0">
                <a:solidFill>
                  <a:prstClr val="black"/>
                </a:solidFill>
                <a:latin typeface="Neo Sans Std" pitchFamily="34" charset="0"/>
                <a:cs typeface="Calibri" pitchFamily="34" charset="0"/>
              </a:rPr>
              <a:t> of books of accounts in a systematic manner is called as Book-keeping. </a:t>
            </a:r>
            <a:endParaRPr lang="en-US" b="1" dirty="0">
              <a:solidFill>
                <a:prstClr val="black"/>
              </a:solidFill>
              <a:latin typeface="Neo Sans Std" pitchFamily="34" charset="0"/>
              <a:cs typeface="Calibri" pitchFamily="34" charset="0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0" y="4191000"/>
            <a:ext cx="9144000" cy="33855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sz="2200" b="1" dirty="0" smtClean="0">
                <a:solidFill>
                  <a:srgbClr val="0B538F"/>
                </a:solidFill>
                <a:latin typeface="Neo Sans Std" pitchFamily="34" charset="0"/>
                <a:ea typeface="ＭＳ Ｐゴシック" charset="0"/>
              </a:rPr>
              <a:t>Accounting:</a:t>
            </a:r>
            <a:endParaRPr lang="en-US" sz="2200" b="1" dirty="0">
              <a:solidFill>
                <a:srgbClr val="0B538F"/>
              </a:solidFill>
              <a:latin typeface="Neo Sans Std" pitchFamily="34" charset="0"/>
              <a:ea typeface="ＭＳ Ｐゴシック" charset="0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0" y="4763869"/>
            <a:ext cx="9143999" cy="646331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spcAft>
                <a:spcPts val="1200"/>
              </a:spcAft>
            </a:pPr>
            <a:r>
              <a:rPr lang="en-US" b="1" dirty="0" smtClean="0">
                <a:solidFill>
                  <a:prstClr val="black"/>
                </a:solidFill>
                <a:latin typeface="Neo Sans Std" pitchFamily="34" charset="0"/>
                <a:cs typeface="Calibri" pitchFamily="34" charset="0"/>
              </a:rPr>
              <a:t>                          Is the art of Recording, Classifying, </a:t>
            </a:r>
            <a:r>
              <a:rPr lang="en-US" b="1" dirty="0" err="1">
                <a:solidFill>
                  <a:prstClr val="black"/>
                </a:solidFill>
                <a:latin typeface="Neo Sans Std" pitchFamily="34" charset="0"/>
                <a:cs typeface="Calibri" pitchFamily="34" charset="0"/>
              </a:rPr>
              <a:t>S</a:t>
            </a:r>
            <a:r>
              <a:rPr lang="en-US" b="1" dirty="0" err="1" smtClean="0">
                <a:solidFill>
                  <a:prstClr val="black"/>
                </a:solidFill>
                <a:latin typeface="Neo Sans Std" pitchFamily="34" charset="0"/>
                <a:cs typeface="Calibri" pitchFamily="34" charset="0"/>
              </a:rPr>
              <a:t>ummarising</a:t>
            </a:r>
            <a:r>
              <a:rPr lang="en-US" b="1" dirty="0" smtClean="0">
                <a:solidFill>
                  <a:prstClr val="black"/>
                </a:solidFill>
                <a:latin typeface="Neo Sans Std" pitchFamily="34" charset="0"/>
                <a:cs typeface="Calibri" pitchFamily="34" charset="0"/>
              </a:rPr>
              <a:t>, &amp; Presenting the financial transactions of business.  </a:t>
            </a:r>
            <a:endParaRPr lang="en-US" b="1" dirty="0">
              <a:solidFill>
                <a:prstClr val="black"/>
              </a:solidFill>
              <a:latin typeface="Neo Sans Std" pitchFamily="34" charset="0"/>
              <a:cs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655519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isInverted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8" name="Object 3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3383432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6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1" name="Straight Connector 10"/>
          <p:cNvCxnSpPr/>
          <p:nvPr/>
        </p:nvCxnSpPr>
        <p:spPr>
          <a:xfrm rot="5400000">
            <a:off x="4581414" y="-2181922"/>
            <a:ext cx="0" cy="6345044"/>
          </a:xfrm>
          <a:prstGeom prst="line">
            <a:avLst/>
          </a:prstGeom>
          <a:ln w="3175">
            <a:solidFill>
              <a:schemeClr val="bg1">
                <a:lumMod val="75000"/>
                <a:alpha val="48000"/>
              </a:schemeClr>
            </a:solidFill>
          </a:ln>
          <a:effectLst>
            <a:outerShdw blurRad="38100" algn="ctr" rotWithShape="0">
              <a:schemeClr val="tx1">
                <a:alpha val="44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3" name="TextBox 12"/>
          <p:cNvSpPr txBox="1"/>
          <p:nvPr/>
        </p:nvSpPr>
        <p:spPr>
          <a:xfrm>
            <a:off x="324531" y="36493"/>
            <a:ext cx="8543925" cy="95410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b="1" dirty="0" smtClean="0">
                <a:solidFill>
                  <a:srgbClr val="0B538F"/>
                </a:solidFill>
                <a:latin typeface="Neo Sans Std Medium" pitchFamily="34" charset="0"/>
                <a:ea typeface="ＭＳ Ｐゴシック" charset="0"/>
              </a:rPr>
              <a:t>Tally ERP.9</a:t>
            </a:r>
          </a:p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sz="2400" b="1" dirty="0" smtClean="0">
                <a:solidFill>
                  <a:srgbClr val="0B538F"/>
                </a:solidFill>
                <a:latin typeface="Neo Sans Std" pitchFamily="34" charset="0"/>
                <a:ea typeface="ＭＳ Ｐゴシック" charset="0"/>
              </a:rPr>
              <a:t>Accounting Cycle</a:t>
            </a:r>
          </a:p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sz="2000" b="1" dirty="0" smtClean="0">
                <a:solidFill>
                  <a:srgbClr val="0B538F"/>
                </a:solidFill>
                <a:latin typeface="Neo Sans Std" pitchFamily="34" charset="0"/>
                <a:ea typeface="ＭＳ Ｐゴシック" charset="0"/>
              </a:rPr>
              <a:t>(Manual Process)</a:t>
            </a:r>
            <a:endParaRPr lang="en-US" sz="2000" b="1" dirty="0">
              <a:solidFill>
                <a:srgbClr val="0B538F"/>
              </a:solidFill>
              <a:latin typeface="Neo Sans Std" pitchFamily="34" charset="0"/>
              <a:ea typeface="ＭＳ Ｐゴシック" charset="0"/>
            </a:endParaRPr>
          </a:p>
        </p:txBody>
      </p:sp>
      <p:grpSp>
        <p:nvGrpSpPr>
          <p:cNvPr id="35" name="Group 34"/>
          <p:cNvGrpSpPr/>
          <p:nvPr/>
        </p:nvGrpSpPr>
        <p:grpSpPr>
          <a:xfrm>
            <a:off x="-457200" y="1222229"/>
            <a:ext cx="8068600" cy="4645171"/>
            <a:chOff x="-302662" y="1450829"/>
            <a:chExt cx="8068600" cy="4645171"/>
          </a:xfrm>
        </p:grpSpPr>
        <p:sp>
          <p:nvSpPr>
            <p:cNvPr id="36" name="Bent-Up Arrow 35"/>
            <p:cNvSpPr/>
            <p:nvPr/>
          </p:nvSpPr>
          <p:spPr>
            <a:xfrm rot="5400000">
              <a:off x="535423" y="2252012"/>
              <a:ext cx="701462" cy="798590"/>
            </a:xfrm>
            <a:prstGeom prst="bentUpArrow">
              <a:avLst>
                <a:gd name="adj1" fmla="val 32840"/>
                <a:gd name="adj2" fmla="val 25000"/>
                <a:gd name="adj3" fmla="val 35780"/>
              </a:avLst>
            </a:prstGeom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2">
                <a:tint val="50000"/>
                <a:hueOff val="0"/>
                <a:satOff val="0"/>
                <a:lumOff val="0"/>
                <a:alphaOff val="0"/>
              </a:schemeClr>
            </a:fillRef>
            <a:effectRef idx="3">
              <a:schemeClr val="accent2">
                <a:tint val="5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37" name="Freeform 36"/>
            <p:cNvSpPr/>
            <p:nvPr/>
          </p:nvSpPr>
          <p:spPr>
            <a:xfrm>
              <a:off x="-302662" y="1450829"/>
              <a:ext cx="2810210" cy="826556"/>
            </a:xfrm>
            <a:custGeom>
              <a:avLst/>
              <a:gdLst>
                <a:gd name="connsiteX0" fmla="*/ 0 w 2810210"/>
                <a:gd name="connsiteY0" fmla="*/ 137787 h 826556"/>
                <a:gd name="connsiteX1" fmla="*/ 137787 w 2810210"/>
                <a:gd name="connsiteY1" fmla="*/ 0 h 826556"/>
                <a:gd name="connsiteX2" fmla="*/ 2672423 w 2810210"/>
                <a:gd name="connsiteY2" fmla="*/ 0 h 826556"/>
                <a:gd name="connsiteX3" fmla="*/ 2810210 w 2810210"/>
                <a:gd name="connsiteY3" fmla="*/ 137787 h 826556"/>
                <a:gd name="connsiteX4" fmla="*/ 2810210 w 2810210"/>
                <a:gd name="connsiteY4" fmla="*/ 688769 h 826556"/>
                <a:gd name="connsiteX5" fmla="*/ 2672423 w 2810210"/>
                <a:gd name="connsiteY5" fmla="*/ 826556 h 826556"/>
                <a:gd name="connsiteX6" fmla="*/ 137787 w 2810210"/>
                <a:gd name="connsiteY6" fmla="*/ 826556 h 826556"/>
                <a:gd name="connsiteX7" fmla="*/ 0 w 2810210"/>
                <a:gd name="connsiteY7" fmla="*/ 688769 h 826556"/>
                <a:gd name="connsiteX8" fmla="*/ 0 w 2810210"/>
                <a:gd name="connsiteY8" fmla="*/ 137787 h 8265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10210" h="826556">
                  <a:moveTo>
                    <a:pt x="0" y="137787"/>
                  </a:moveTo>
                  <a:cubicBezTo>
                    <a:pt x="0" y="61689"/>
                    <a:pt x="61689" y="0"/>
                    <a:pt x="137787" y="0"/>
                  </a:cubicBezTo>
                  <a:lnTo>
                    <a:pt x="2672423" y="0"/>
                  </a:lnTo>
                  <a:cubicBezTo>
                    <a:pt x="2748521" y="0"/>
                    <a:pt x="2810210" y="61689"/>
                    <a:pt x="2810210" y="137787"/>
                  </a:cubicBezTo>
                  <a:lnTo>
                    <a:pt x="2810210" y="688769"/>
                  </a:lnTo>
                  <a:cubicBezTo>
                    <a:pt x="2810210" y="764867"/>
                    <a:pt x="2748521" y="826556"/>
                    <a:pt x="2672423" y="826556"/>
                  </a:cubicBezTo>
                  <a:lnTo>
                    <a:pt x="137787" y="826556"/>
                  </a:lnTo>
                  <a:cubicBezTo>
                    <a:pt x="61689" y="826556"/>
                    <a:pt x="0" y="764867"/>
                    <a:pt x="0" y="688769"/>
                  </a:cubicBezTo>
                  <a:lnTo>
                    <a:pt x="0" y="137787"/>
                  </a:lnTo>
                  <a:close/>
                </a:path>
              </a:pathLst>
            </a:custGeom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2">
                <a:hueOff val="0"/>
                <a:satOff val="0"/>
                <a:lumOff val="0"/>
                <a:alphaOff val="0"/>
              </a:schemeClr>
            </a:fillRef>
            <a:effectRef idx="3">
              <a:schemeClr val="accent2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31796" tIns="131796" rIns="131796" bIns="131796" numCol="1" spcCol="1270" anchor="ctr" anchorCtr="0">
              <a:noAutofit/>
            </a:bodyPr>
            <a:lstStyle/>
            <a:p>
              <a:pPr lvl="0" algn="ctr" defTabSz="10668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IN" sz="2400" b="1" kern="1200" dirty="0" smtClean="0">
                  <a:effectLst/>
                  <a:latin typeface="Calibri"/>
                  <a:ea typeface="+mn-ea"/>
                  <a:cs typeface="+mn-cs"/>
                </a:rPr>
                <a:t>Transaction</a:t>
              </a:r>
              <a:endParaRPr lang="en-IN" sz="2400" b="1" kern="1200" dirty="0">
                <a:effectLst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9" name="Rectangle 38"/>
            <p:cNvSpPr/>
            <p:nvPr/>
          </p:nvSpPr>
          <p:spPr>
            <a:xfrm>
              <a:off x="1962956" y="1537075"/>
              <a:ext cx="1107729" cy="668059"/>
            </a:xfrm>
            <a:prstGeom prst="rect">
              <a:avLst/>
            </a:prstGeom>
          </p:spPr>
          <p:style>
            <a:lnRef idx="0">
              <a:schemeClr val="dk1">
                <a:alpha val="0"/>
                <a:hueOff val="0"/>
                <a:satOff val="0"/>
                <a:lumOff val="0"/>
                <a:alphaOff val="0"/>
              </a:schemeClr>
            </a:lnRef>
            <a:fillRef idx="0">
              <a:schemeClr val="lt1">
                <a:alpha val="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40" name="Bent-Up Arrow 39"/>
            <p:cNvSpPr/>
            <p:nvPr/>
          </p:nvSpPr>
          <p:spPr>
            <a:xfrm rot="5400000">
              <a:off x="1839294" y="3219102"/>
              <a:ext cx="701462" cy="798590"/>
            </a:xfrm>
            <a:prstGeom prst="bentUpArrow">
              <a:avLst>
                <a:gd name="adj1" fmla="val 32840"/>
                <a:gd name="adj2" fmla="val 25000"/>
                <a:gd name="adj3" fmla="val 35780"/>
              </a:avLst>
            </a:prstGeom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2">
                <a:tint val="50000"/>
                <a:hueOff val="0"/>
                <a:satOff val="0"/>
                <a:lumOff val="0"/>
                <a:alphaOff val="0"/>
              </a:schemeClr>
            </a:fillRef>
            <a:effectRef idx="3">
              <a:schemeClr val="accent2">
                <a:tint val="5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41" name="Freeform 40"/>
            <p:cNvSpPr/>
            <p:nvPr/>
          </p:nvSpPr>
          <p:spPr>
            <a:xfrm>
              <a:off x="1316330" y="2402369"/>
              <a:ext cx="2569872" cy="826556"/>
            </a:xfrm>
            <a:custGeom>
              <a:avLst/>
              <a:gdLst>
                <a:gd name="connsiteX0" fmla="*/ 0 w 2569872"/>
                <a:gd name="connsiteY0" fmla="*/ 137787 h 826556"/>
                <a:gd name="connsiteX1" fmla="*/ 137787 w 2569872"/>
                <a:gd name="connsiteY1" fmla="*/ 0 h 826556"/>
                <a:gd name="connsiteX2" fmla="*/ 2432085 w 2569872"/>
                <a:gd name="connsiteY2" fmla="*/ 0 h 826556"/>
                <a:gd name="connsiteX3" fmla="*/ 2569872 w 2569872"/>
                <a:gd name="connsiteY3" fmla="*/ 137787 h 826556"/>
                <a:gd name="connsiteX4" fmla="*/ 2569872 w 2569872"/>
                <a:gd name="connsiteY4" fmla="*/ 688769 h 826556"/>
                <a:gd name="connsiteX5" fmla="*/ 2432085 w 2569872"/>
                <a:gd name="connsiteY5" fmla="*/ 826556 h 826556"/>
                <a:gd name="connsiteX6" fmla="*/ 137787 w 2569872"/>
                <a:gd name="connsiteY6" fmla="*/ 826556 h 826556"/>
                <a:gd name="connsiteX7" fmla="*/ 0 w 2569872"/>
                <a:gd name="connsiteY7" fmla="*/ 688769 h 826556"/>
                <a:gd name="connsiteX8" fmla="*/ 0 w 2569872"/>
                <a:gd name="connsiteY8" fmla="*/ 137787 h 8265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569872" h="826556">
                  <a:moveTo>
                    <a:pt x="0" y="137787"/>
                  </a:moveTo>
                  <a:cubicBezTo>
                    <a:pt x="0" y="61689"/>
                    <a:pt x="61689" y="0"/>
                    <a:pt x="137787" y="0"/>
                  </a:cubicBezTo>
                  <a:lnTo>
                    <a:pt x="2432085" y="0"/>
                  </a:lnTo>
                  <a:cubicBezTo>
                    <a:pt x="2508183" y="0"/>
                    <a:pt x="2569872" y="61689"/>
                    <a:pt x="2569872" y="137787"/>
                  </a:cubicBezTo>
                  <a:lnTo>
                    <a:pt x="2569872" y="688769"/>
                  </a:lnTo>
                  <a:cubicBezTo>
                    <a:pt x="2569872" y="764867"/>
                    <a:pt x="2508183" y="826556"/>
                    <a:pt x="2432085" y="826556"/>
                  </a:cubicBezTo>
                  <a:lnTo>
                    <a:pt x="137787" y="826556"/>
                  </a:lnTo>
                  <a:cubicBezTo>
                    <a:pt x="61689" y="826556"/>
                    <a:pt x="0" y="764867"/>
                    <a:pt x="0" y="688769"/>
                  </a:cubicBezTo>
                  <a:lnTo>
                    <a:pt x="0" y="137787"/>
                  </a:lnTo>
                  <a:close/>
                </a:path>
              </a:pathLst>
            </a:custGeom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2">
                <a:hueOff val="0"/>
                <a:satOff val="0"/>
                <a:lumOff val="0"/>
                <a:alphaOff val="0"/>
              </a:schemeClr>
            </a:fillRef>
            <a:effectRef idx="3">
              <a:schemeClr val="accent2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31796" tIns="131796" rIns="131796" bIns="131796" numCol="1" spcCol="1270" anchor="ctr" anchorCtr="0">
              <a:noAutofit/>
            </a:bodyPr>
            <a:lstStyle/>
            <a:p>
              <a:pPr lvl="0" algn="ctr" defTabSz="10668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IN" sz="2400" b="1" kern="1200" dirty="0" smtClean="0">
                  <a:effectLst/>
                  <a:latin typeface="Calibri"/>
                  <a:ea typeface="+mn-ea"/>
                  <a:cs typeface="+mn-cs"/>
                </a:rPr>
                <a:t>Journal Entry</a:t>
              </a:r>
              <a:endParaRPr lang="en-IN" sz="2400" b="1" kern="1200" dirty="0">
                <a:effectLst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2" name="Rectangle 41"/>
            <p:cNvSpPr/>
            <p:nvPr/>
          </p:nvSpPr>
          <p:spPr>
            <a:xfrm>
              <a:off x="3199673" y="2453273"/>
              <a:ext cx="1266038" cy="668059"/>
            </a:xfrm>
            <a:prstGeom prst="rect">
              <a:avLst/>
            </a:prstGeom>
          </p:spPr>
          <p:style>
            <a:lnRef idx="0">
              <a:schemeClr val="dk1">
                <a:alpha val="0"/>
                <a:hueOff val="0"/>
                <a:satOff val="0"/>
                <a:lumOff val="0"/>
                <a:alphaOff val="0"/>
              </a:schemeClr>
            </a:lnRef>
            <a:fillRef idx="0">
              <a:schemeClr val="lt1">
                <a:alpha val="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43" name="Bent-Up Arrow 42"/>
            <p:cNvSpPr/>
            <p:nvPr/>
          </p:nvSpPr>
          <p:spPr>
            <a:xfrm rot="5400000">
              <a:off x="3365543" y="4085407"/>
              <a:ext cx="701462" cy="798590"/>
            </a:xfrm>
            <a:prstGeom prst="bentUpArrow">
              <a:avLst>
                <a:gd name="adj1" fmla="val 32840"/>
                <a:gd name="adj2" fmla="val 25000"/>
                <a:gd name="adj3" fmla="val 35780"/>
              </a:avLst>
            </a:prstGeom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2">
                <a:tint val="50000"/>
                <a:hueOff val="0"/>
                <a:satOff val="0"/>
                <a:lumOff val="0"/>
                <a:alphaOff val="0"/>
              </a:schemeClr>
            </a:fillRef>
            <a:effectRef idx="3">
              <a:schemeClr val="accent2">
                <a:tint val="5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44" name="Freeform 43"/>
            <p:cNvSpPr/>
            <p:nvPr/>
          </p:nvSpPr>
          <p:spPr>
            <a:xfrm>
              <a:off x="2602959" y="3369466"/>
              <a:ext cx="2426245" cy="826556"/>
            </a:xfrm>
            <a:custGeom>
              <a:avLst/>
              <a:gdLst>
                <a:gd name="connsiteX0" fmla="*/ 0 w 2426245"/>
                <a:gd name="connsiteY0" fmla="*/ 137787 h 826556"/>
                <a:gd name="connsiteX1" fmla="*/ 137787 w 2426245"/>
                <a:gd name="connsiteY1" fmla="*/ 0 h 826556"/>
                <a:gd name="connsiteX2" fmla="*/ 2288458 w 2426245"/>
                <a:gd name="connsiteY2" fmla="*/ 0 h 826556"/>
                <a:gd name="connsiteX3" fmla="*/ 2426245 w 2426245"/>
                <a:gd name="connsiteY3" fmla="*/ 137787 h 826556"/>
                <a:gd name="connsiteX4" fmla="*/ 2426245 w 2426245"/>
                <a:gd name="connsiteY4" fmla="*/ 688769 h 826556"/>
                <a:gd name="connsiteX5" fmla="*/ 2288458 w 2426245"/>
                <a:gd name="connsiteY5" fmla="*/ 826556 h 826556"/>
                <a:gd name="connsiteX6" fmla="*/ 137787 w 2426245"/>
                <a:gd name="connsiteY6" fmla="*/ 826556 h 826556"/>
                <a:gd name="connsiteX7" fmla="*/ 0 w 2426245"/>
                <a:gd name="connsiteY7" fmla="*/ 688769 h 826556"/>
                <a:gd name="connsiteX8" fmla="*/ 0 w 2426245"/>
                <a:gd name="connsiteY8" fmla="*/ 137787 h 8265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426245" h="826556">
                  <a:moveTo>
                    <a:pt x="0" y="137787"/>
                  </a:moveTo>
                  <a:cubicBezTo>
                    <a:pt x="0" y="61689"/>
                    <a:pt x="61689" y="0"/>
                    <a:pt x="137787" y="0"/>
                  </a:cubicBezTo>
                  <a:lnTo>
                    <a:pt x="2288458" y="0"/>
                  </a:lnTo>
                  <a:cubicBezTo>
                    <a:pt x="2364556" y="0"/>
                    <a:pt x="2426245" y="61689"/>
                    <a:pt x="2426245" y="137787"/>
                  </a:cubicBezTo>
                  <a:lnTo>
                    <a:pt x="2426245" y="688769"/>
                  </a:lnTo>
                  <a:cubicBezTo>
                    <a:pt x="2426245" y="764867"/>
                    <a:pt x="2364556" y="826556"/>
                    <a:pt x="2288458" y="826556"/>
                  </a:cubicBezTo>
                  <a:lnTo>
                    <a:pt x="137787" y="826556"/>
                  </a:lnTo>
                  <a:cubicBezTo>
                    <a:pt x="61689" y="826556"/>
                    <a:pt x="0" y="764867"/>
                    <a:pt x="0" y="688769"/>
                  </a:cubicBezTo>
                  <a:lnTo>
                    <a:pt x="0" y="137787"/>
                  </a:lnTo>
                  <a:close/>
                </a:path>
              </a:pathLst>
            </a:custGeom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2">
                <a:hueOff val="0"/>
                <a:satOff val="0"/>
                <a:lumOff val="0"/>
                <a:alphaOff val="0"/>
              </a:schemeClr>
            </a:fillRef>
            <a:effectRef idx="3">
              <a:schemeClr val="accent2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31796" tIns="131796" rIns="131796" bIns="131796" numCol="1" spcCol="1270" anchor="ctr" anchorCtr="0">
              <a:noAutofit/>
            </a:bodyPr>
            <a:lstStyle/>
            <a:p>
              <a:pPr lvl="0" algn="ctr" defTabSz="10668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2400" b="1" kern="1200" dirty="0" smtClean="0">
                  <a:effectLst/>
                  <a:latin typeface="Calibri"/>
                  <a:ea typeface="+mn-ea"/>
                  <a:cs typeface="+mn-cs"/>
                </a:rPr>
                <a:t>Ledger Posting</a:t>
              </a:r>
              <a:endParaRPr lang="en-IN" sz="2400" b="1" kern="1200" dirty="0">
                <a:effectLst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5" name="Rectangle 44"/>
            <p:cNvSpPr/>
            <p:nvPr/>
          </p:nvSpPr>
          <p:spPr>
            <a:xfrm>
              <a:off x="4360548" y="3386652"/>
              <a:ext cx="858837" cy="668059"/>
            </a:xfrm>
            <a:prstGeom prst="rect">
              <a:avLst/>
            </a:prstGeom>
          </p:spPr>
          <p:style>
            <a:lnRef idx="0">
              <a:schemeClr val="dk1">
                <a:alpha val="0"/>
                <a:hueOff val="0"/>
                <a:satOff val="0"/>
                <a:lumOff val="0"/>
                <a:alphaOff val="0"/>
              </a:schemeClr>
            </a:lnRef>
            <a:fillRef idx="0">
              <a:schemeClr val="lt1">
                <a:alpha val="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46" name="Bent-Up Arrow 45"/>
            <p:cNvSpPr/>
            <p:nvPr/>
          </p:nvSpPr>
          <p:spPr>
            <a:xfrm rot="5400000">
              <a:off x="4609159" y="5013903"/>
              <a:ext cx="701462" cy="798590"/>
            </a:xfrm>
            <a:prstGeom prst="bentUpArrow">
              <a:avLst>
                <a:gd name="adj1" fmla="val 32840"/>
                <a:gd name="adj2" fmla="val 25000"/>
                <a:gd name="adj3" fmla="val 35780"/>
              </a:avLst>
            </a:prstGeom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2">
                <a:tint val="50000"/>
                <a:hueOff val="0"/>
                <a:satOff val="0"/>
                <a:lumOff val="0"/>
                <a:alphaOff val="0"/>
              </a:schemeClr>
            </a:fillRef>
            <a:effectRef idx="3">
              <a:schemeClr val="accent2">
                <a:tint val="5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47" name="Freeform 46"/>
            <p:cNvSpPr/>
            <p:nvPr/>
          </p:nvSpPr>
          <p:spPr>
            <a:xfrm>
              <a:off x="4118377" y="4278844"/>
              <a:ext cx="2466922" cy="826556"/>
            </a:xfrm>
            <a:custGeom>
              <a:avLst/>
              <a:gdLst>
                <a:gd name="connsiteX0" fmla="*/ 0 w 2053817"/>
                <a:gd name="connsiteY0" fmla="*/ 137787 h 826556"/>
                <a:gd name="connsiteX1" fmla="*/ 137787 w 2053817"/>
                <a:gd name="connsiteY1" fmla="*/ 0 h 826556"/>
                <a:gd name="connsiteX2" fmla="*/ 1916030 w 2053817"/>
                <a:gd name="connsiteY2" fmla="*/ 0 h 826556"/>
                <a:gd name="connsiteX3" fmla="*/ 2053817 w 2053817"/>
                <a:gd name="connsiteY3" fmla="*/ 137787 h 826556"/>
                <a:gd name="connsiteX4" fmla="*/ 2053817 w 2053817"/>
                <a:gd name="connsiteY4" fmla="*/ 688769 h 826556"/>
                <a:gd name="connsiteX5" fmla="*/ 1916030 w 2053817"/>
                <a:gd name="connsiteY5" fmla="*/ 826556 h 826556"/>
                <a:gd name="connsiteX6" fmla="*/ 137787 w 2053817"/>
                <a:gd name="connsiteY6" fmla="*/ 826556 h 826556"/>
                <a:gd name="connsiteX7" fmla="*/ 0 w 2053817"/>
                <a:gd name="connsiteY7" fmla="*/ 688769 h 826556"/>
                <a:gd name="connsiteX8" fmla="*/ 0 w 2053817"/>
                <a:gd name="connsiteY8" fmla="*/ 137787 h 8265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053817" h="826556">
                  <a:moveTo>
                    <a:pt x="0" y="137787"/>
                  </a:moveTo>
                  <a:cubicBezTo>
                    <a:pt x="0" y="61689"/>
                    <a:pt x="61689" y="0"/>
                    <a:pt x="137787" y="0"/>
                  </a:cubicBezTo>
                  <a:lnTo>
                    <a:pt x="1916030" y="0"/>
                  </a:lnTo>
                  <a:cubicBezTo>
                    <a:pt x="1992128" y="0"/>
                    <a:pt x="2053817" y="61689"/>
                    <a:pt x="2053817" y="137787"/>
                  </a:cubicBezTo>
                  <a:lnTo>
                    <a:pt x="2053817" y="688769"/>
                  </a:lnTo>
                  <a:cubicBezTo>
                    <a:pt x="2053817" y="764867"/>
                    <a:pt x="1992128" y="826556"/>
                    <a:pt x="1916030" y="826556"/>
                  </a:cubicBezTo>
                  <a:lnTo>
                    <a:pt x="137787" y="826556"/>
                  </a:lnTo>
                  <a:cubicBezTo>
                    <a:pt x="61689" y="826556"/>
                    <a:pt x="0" y="764867"/>
                    <a:pt x="0" y="688769"/>
                  </a:cubicBezTo>
                  <a:lnTo>
                    <a:pt x="0" y="137787"/>
                  </a:lnTo>
                  <a:close/>
                </a:path>
              </a:pathLst>
            </a:custGeom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2">
                <a:hueOff val="0"/>
                <a:satOff val="0"/>
                <a:lumOff val="0"/>
                <a:alphaOff val="0"/>
              </a:schemeClr>
            </a:fillRef>
            <a:effectRef idx="3">
              <a:schemeClr val="accent2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31796" tIns="131796" rIns="131796" bIns="131796" numCol="1" spcCol="1270" anchor="ctr" anchorCtr="0">
              <a:noAutofit/>
            </a:bodyPr>
            <a:lstStyle/>
            <a:p>
              <a:pPr lvl="0" algn="ctr" defTabSz="10668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2400" b="1" kern="1200" dirty="0" smtClean="0">
                  <a:effectLst/>
                </a:rPr>
                <a:t>Preparing </a:t>
              </a:r>
            </a:p>
            <a:p>
              <a:pPr lvl="0" algn="ctr" defTabSz="10668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2400" b="1" kern="1200" dirty="0" smtClean="0">
                  <a:effectLst/>
                </a:rPr>
                <a:t>Trial Balance</a:t>
              </a:r>
              <a:endParaRPr lang="en-US" sz="2400" b="1" kern="1200" dirty="0">
                <a:effectLst/>
              </a:endParaRPr>
            </a:p>
          </p:txBody>
        </p:sp>
        <p:sp>
          <p:nvSpPr>
            <p:cNvPr id="48" name="Rectangle 47"/>
            <p:cNvSpPr/>
            <p:nvPr/>
          </p:nvSpPr>
          <p:spPr>
            <a:xfrm>
              <a:off x="5604165" y="4315148"/>
              <a:ext cx="858837" cy="668059"/>
            </a:xfrm>
            <a:prstGeom prst="rect">
              <a:avLst/>
            </a:prstGeom>
          </p:spPr>
          <p:style>
            <a:lnRef idx="0">
              <a:schemeClr val="dk1">
                <a:alpha val="0"/>
                <a:hueOff val="0"/>
                <a:satOff val="0"/>
                <a:lumOff val="0"/>
                <a:alphaOff val="0"/>
              </a:schemeClr>
            </a:lnRef>
            <a:fillRef idx="0">
              <a:schemeClr val="lt1">
                <a:alpha val="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49" name="Freeform 48"/>
            <p:cNvSpPr/>
            <p:nvPr/>
          </p:nvSpPr>
          <p:spPr>
            <a:xfrm>
              <a:off x="5334000" y="5269444"/>
              <a:ext cx="2431938" cy="826556"/>
            </a:xfrm>
            <a:custGeom>
              <a:avLst/>
              <a:gdLst>
                <a:gd name="connsiteX0" fmla="*/ 0 w 2124998"/>
                <a:gd name="connsiteY0" fmla="*/ 137787 h 826556"/>
                <a:gd name="connsiteX1" fmla="*/ 137787 w 2124998"/>
                <a:gd name="connsiteY1" fmla="*/ 0 h 826556"/>
                <a:gd name="connsiteX2" fmla="*/ 1987211 w 2124998"/>
                <a:gd name="connsiteY2" fmla="*/ 0 h 826556"/>
                <a:gd name="connsiteX3" fmla="*/ 2124998 w 2124998"/>
                <a:gd name="connsiteY3" fmla="*/ 137787 h 826556"/>
                <a:gd name="connsiteX4" fmla="*/ 2124998 w 2124998"/>
                <a:gd name="connsiteY4" fmla="*/ 688769 h 826556"/>
                <a:gd name="connsiteX5" fmla="*/ 1987211 w 2124998"/>
                <a:gd name="connsiteY5" fmla="*/ 826556 h 826556"/>
                <a:gd name="connsiteX6" fmla="*/ 137787 w 2124998"/>
                <a:gd name="connsiteY6" fmla="*/ 826556 h 826556"/>
                <a:gd name="connsiteX7" fmla="*/ 0 w 2124998"/>
                <a:gd name="connsiteY7" fmla="*/ 688769 h 826556"/>
                <a:gd name="connsiteX8" fmla="*/ 0 w 2124998"/>
                <a:gd name="connsiteY8" fmla="*/ 137787 h 8265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24998" h="826556">
                  <a:moveTo>
                    <a:pt x="0" y="137787"/>
                  </a:moveTo>
                  <a:cubicBezTo>
                    <a:pt x="0" y="61689"/>
                    <a:pt x="61689" y="0"/>
                    <a:pt x="137787" y="0"/>
                  </a:cubicBezTo>
                  <a:lnTo>
                    <a:pt x="1987211" y="0"/>
                  </a:lnTo>
                  <a:cubicBezTo>
                    <a:pt x="2063309" y="0"/>
                    <a:pt x="2124998" y="61689"/>
                    <a:pt x="2124998" y="137787"/>
                  </a:cubicBezTo>
                  <a:lnTo>
                    <a:pt x="2124998" y="688769"/>
                  </a:lnTo>
                  <a:cubicBezTo>
                    <a:pt x="2124998" y="764867"/>
                    <a:pt x="2063309" y="826556"/>
                    <a:pt x="1987211" y="826556"/>
                  </a:cubicBezTo>
                  <a:lnTo>
                    <a:pt x="137787" y="826556"/>
                  </a:lnTo>
                  <a:cubicBezTo>
                    <a:pt x="61689" y="826556"/>
                    <a:pt x="0" y="764867"/>
                    <a:pt x="0" y="688769"/>
                  </a:cubicBezTo>
                  <a:lnTo>
                    <a:pt x="0" y="137787"/>
                  </a:lnTo>
                  <a:close/>
                </a:path>
              </a:pathLst>
            </a:custGeom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2">
                <a:hueOff val="0"/>
                <a:satOff val="0"/>
                <a:lumOff val="0"/>
                <a:alphaOff val="0"/>
              </a:schemeClr>
            </a:fillRef>
            <a:effectRef idx="3">
              <a:schemeClr val="accent2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31796" tIns="131796" rIns="131796" bIns="131796" numCol="1" spcCol="1270" anchor="ctr" anchorCtr="0">
              <a:noAutofit/>
            </a:bodyPr>
            <a:lstStyle/>
            <a:p>
              <a:pPr lvl="0" algn="ctr" defTabSz="10668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2400" b="1" kern="1200" dirty="0" smtClean="0">
                  <a:effectLst/>
                </a:rPr>
                <a:t>Preparing </a:t>
              </a:r>
            </a:p>
            <a:p>
              <a:pPr lvl="0" algn="ctr" defTabSz="10668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2400" b="1" kern="1200" dirty="0" smtClean="0">
                  <a:effectLst/>
                </a:rPr>
                <a:t>Final Accounts</a:t>
              </a:r>
              <a:endParaRPr lang="en-US" sz="2400" b="1" kern="1200" dirty="0">
                <a:effectLst/>
              </a:endParaRPr>
            </a:p>
          </p:txBody>
        </p:sp>
      </p:grpSp>
      <p:sp>
        <p:nvSpPr>
          <p:cNvPr id="58" name="TextBox 57"/>
          <p:cNvSpPr txBox="1"/>
          <p:nvPr/>
        </p:nvSpPr>
        <p:spPr>
          <a:xfrm>
            <a:off x="6477000" y="5867400"/>
            <a:ext cx="2273146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 smtClean="0">
                <a:latin typeface="Calibri" pitchFamily="34" charset="0"/>
                <a:cs typeface="Calibri" pitchFamily="34" charset="0"/>
              </a:rPr>
              <a:t>1.Trading A/c</a:t>
            </a:r>
          </a:p>
          <a:p>
            <a:r>
              <a:rPr lang="en-US" b="1" dirty="0" smtClean="0">
                <a:latin typeface="Calibri" pitchFamily="34" charset="0"/>
                <a:cs typeface="Calibri" pitchFamily="34" charset="0"/>
              </a:rPr>
              <a:t>2.Profit &amp; Loss A/c</a:t>
            </a:r>
          </a:p>
          <a:p>
            <a:r>
              <a:rPr lang="en-US" b="1" dirty="0" smtClean="0">
                <a:latin typeface="Calibri" pitchFamily="34" charset="0"/>
                <a:cs typeface="Calibri" pitchFamily="34" charset="0"/>
              </a:rPr>
              <a:t>3.Balance Sheet</a:t>
            </a:r>
            <a:endParaRPr lang="en-US" b="1" dirty="0">
              <a:latin typeface="Calibri" pitchFamily="34" charset="0"/>
              <a:cs typeface="Calibri" pitchFamily="34" charset="0"/>
            </a:endParaRPr>
          </a:p>
        </p:txBody>
      </p:sp>
      <p:sp>
        <p:nvSpPr>
          <p:cNvPr id="59" name="Left-Up Arrow 58"/>
          <p:cNvSpPr/>
          <p:nvPr/>
        </p:nvSpPr>
        <p:spPr>
          <a:xfrm rot="5400000">
            <a:off x="5562600" y="5867400"/>
            <a:ext cx="850392" cy="850392"/>
          </a:xfrm>
          <a:prstGeom prst="leftUpArrow">
            <a:avLst>
              <a:gd name="adj1" fmla="val 14759"/>
              <a:gd name="adj2" fmla="val 16680"/>
              <a:gd name="adj3" fmla="val 23720"/>
            </a:avLst>
          </a:prstGeom>
          <a:solidFill>
            <a:schemeClr val="accent2">
              <a:lumMod val="75000"/>
            </a:schemeClr>
          </a:solidFill>
          <a:ln>
            <a:solidFill>
              <a:schemeClr val="bg1">
                <a:lumMod val="50000"/>
              </a:schemeClr>
            </a:solidFill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048613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isInverted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8" name="Object 3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2317215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63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1" name="Straight Connector 10"/>
          <p:cNvCxnSpPr/>
          <p:nvPr/>
        </p:nvCxnSpPr>
        <p:spPr>
          <a:xfrm rot="5400000">
            <a:off x="4581414" y="-2181922"/>
            <a:ext cx="0" cy="6345044"/>
          </a:xfrm>
          <a:prstGeom prst="line">
            <a:avLst/>
          </a:prstGeom>
          <a:ln w="3175">
            <a:solidFill>
              <a:schemeClr val="bg1">
                <a:lumMod val="75000"/>
                <a:alpha val="48000"/>
              </a:schemeClr>
            </a:solidFill>
          </a:ln>
          <a:effectLst>
            <a:outerShdw blurRad="38100" algn="ctr" rotWithShape="0">
              <a:schemeClr val="tx1">
                <a:alpha val="44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3" name="TextBox 12"/>
          <p:cNvSpPr txBox="1"/>
          <p:nvPr/>
        </p:nvSpPr>
        <p:spPr>
          <a:xfrm>
            <a:off x="324531" y="36493"/>
            <a:ext cx="8543925" cy="95410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b="1" dirty="0" smtClean="0">
                <a:solidFill>
                  <a:srgbClr val="0B538F"/>
                </a:solidFill>
                <a:latin typeface="Neo Sans Std Medium" pitchFamily="34" charset="0"/>
                <a:ea typeface="ＭＳ Ｐゴシック" charset="0"/>
              </a:rPr>
              <a:t>Tally ERP.9</a:t>
            </a:r>
          </a:p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sz="2400" b="1" dirty="0" smtClean="0">
                <a:solidFill>
                  <a:srgbClr val="0B538F"/>
                </a:solidFill>
                <a:latin typeface="Neo Sans Std" pitchFamily="34" charset="0"/>
                <a:ea typeface="ＭＳ Ｐゴシック" charset="0"/>
              </a:rPr>
              <a:t>Accounting Cycle</a:t>
            </a:r>
          </a:p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sz="2000" b="1" dirty="0" smtClean="0">
                <a:solidFill>
                  <a:srgbClr val="0B538F"/>
                </a:solidFill>
                <a:latin typeface="Neo Sans Std" pitchFamily="34" charset="0"/>
                <a:ea typeface="ＭＳ Ｐゴシック" charset="0"/>
              </a:rPr>
              <a:t>(</a:t>
            </a:r>
            <a:r>
              <a:rPr lang="en-US" sz="2000" b="1" dirty="0" err="1" smtClean="0">
                <a:solidFill>
                  <a:srgbClr val="0B538F"/>
                </a:solidFill>
                <a:latin typeface="Neo Sans Std" pitchFamily="34" charset="0"/>
                <a:ea typeface="ＭＳ Ｐゴシック" charset="0"/>
              </a:rPr>
              <a:t>Computersied</a:t>
            </a:r>
            <a:r>
              <a:rPr lang="en-US" sz="2000" b="1" dirty="0" smtClean="0">
                <a:solidFill>
                  <a:srgbClr val="0B538F"/>
                </a:solidFill>
                <a:latin typeface="Neo Sans Std" pitchFamily="34" charset="0"/>
                <a:ea typeface="ＭＳ Ｐゴシック" charset="0"/>
              </a:rPr>
              <a:t> Process)</a:t>
            </a:r>
            <a:endParaRPr lang="en-US" sz="2000" b="1" dirty="0">
              <a:solidFill>
                <a:srgbClr val="0B538F"/>
              </a:solidFill>
              <a:latin typeface="Neo Sans Std" pitchFamily="34" charset="0"/>
              <a:ea typeface="ＭＳ Ｐゴシック" charset="0"/>
            </a:endParaRPr>
          </a:p>
        </p:txBody>
      </p:sp>
      <p:grpSp>
        <p:nvGrpSpPr>
          <p:cNvPr id="35" name="Group 34"/>
          <p:cNvGrpSpPr/>
          <p:nvPr/>
        </p:nvGrpSpPr>
        <p:grpSpPr>
          <a:xfrm>
            <a:off x="-295610" y="1222229"/>
            <a:ext cx="7907010" cy="4645171"/>
            <a:chOff x="-141072" y="1450829"/>
            <a:chExt cx="7907010" cy="4645171"/>
          </a:xfrm>
        </p:grpSpPr>
        <p:sp>
          <p:nvSpPr>
            <p:cNvPr id="36" name="Bent-Up Arrow 35"/>
            <p:cNvSpPr/>
            <p:nvPr/>
          </p:nvSpPr>
          <p:spPr>
            <a:xfrm rot="5400000">
              <a:off x="535423" y="2252012"/>
              <a:ext cx="701462" cy="798590"/>
            </a:xfrm>
            <a:prstGeom prst="bentUpArrow">
              <a:avLst>
                <a:gd name="adj1" fmla="val 32840"/>
                <a:gd name="adj2" fmla="val 25000"/>
                <a:gd name="adj3" fmla="val 35780"/>
              </a:avLst>
            </a:prstGeom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2">
                <a:tint val="50000"/>
                <a:hueOff val="0"/>
                <a:satOff val="0"/>
                <a:lumOff val="0"/>
                <a:alphaOff val="0"/>
              </a:schemeClr>
            </a:fillRef>
            <a:effectRef idx="3">
              <a:schemeClr val="accent2">
                <a:tint val="5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37" name="Freeform 36"/>
            <p:cNvSpPr/>
            <p:nvPr/>
          </p:nvSpPr>
          <p:spPr>
            <a:xfrm>
              <a:off x="-141072" y="1450829"/>
              <a:ext cx="2810210" cy="826556"/>
            </a:xfrm>
            <a:custGeom>
              <a:avLst/>
              <a:gdLst>
                <a:gd name="connsiteX0" fmla="*/ 0 w 2810210"/>
                <a:gd name="connsiteY0" fmla="*/ 137787 h 826556"/>
                <a:gd name="connsiteX1" fmla="*/ 137787 w 2810210"/>
                <a:gd name="connsiteY1" fmla="*/ 0 h 826556"/>
                <a:gd name="connsiteX2" fmla="*/ 2672423 w 2810210"/>
                <a:gd name="connsiteY2" fmla="*/ 0 h 826556"/>
                <a:gd name="connsiteX3" fmla="*/ 2810210 w 2810210"/>
                <a:gd name="connsiteY3" fmla="*/ 137787 h 826556"/>
                <a:gd name="connsiteX4" fmla="*/ 2810210 w 2810210"/>
                <a:gd name="connsiteY4" fmla="*/ 688769 h 826556"/>
                <a:gd name="connsiteX5" fmla="*/ 2672423 w 2810210"/>
                <a:gd name="connsiteY5" fmla="*/ 826556 h 826556"/>
                <a:gd name="connsiteX6" fmla="*/ 137787 w 2810210"/>
                <a:gd name="connsiteY6" fmla="*/ 826556 h 826556"/>
                <a:gd name="connsiteX7" fmla="*/ 0 w 2810210"/>
                <a:gd name="connsiteY7" fmla="*/ 688769 h 826556"/>
                <a:gd name="connsiteX8" fmla="*/ 0 w 2810210"/>
                <a:gd name="connsiteY8" fmla="*/ 137787 h 8265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10210" h="826556">
                  <a:moveTo>
                    <a:pt x="0" y="137787"/>
                  </a:moveTo>
                  <a:cubicBezTo>
                    <a:pt x="0" y="61689"/>
                    <a:pt x="61689" y="0"/>
                    <a:pt x="137787" y="0"/>
                  </a:cubicBezTo>
                  <a:lnTo>
                    <a:pt x="2672423" y="0"/>
                  </a:lnTo>
                  <a:cubicBezTo>
                    <a:pt x="2748521" y="0"/>
                    <a:pt x="2810210" y="61689"/>
                    <a:pt x="2810210" y="137787"/>
                  </a:cubicBezTo>
                  <a:lnTo>
                    <a:pt x="2810210" y="688769"/>
                  </a:lnTo>
                  <a:cubicBezTo>
                    <a:pt x="2810210" y="764867"/>
                    <a:pt x="2748521" y="826556"/>
                    <a:pt x="2672423" y="826556"/>
                  </a:cubicBezTo>
                  <a:lnTo>
                    <a:pt x="137787" y="826556"/>
                  </a:lnTo>
                  <a:cubicBezTo>
                    <a:pt x="61689" y="826556"/>
                    <a:pt x="0" y="764867"/>
                    <a:pt x="0" y="688769"/>
                  </a:cubicBezTo>
                  <a:lnTo>
                    <a:pt x="0" y="137787"/>
                  </a:lnTo>
                  <a:close/>
                </a:path>
              </a:pathLst>
            </a:custGeom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2">
                <a:hueOff val="0"/>
                <a:satOff val="0"/>
                <a:lumOff val="0"/>
                <a:alphaOff val="0"/>
              </a:schemeClr>
            </a:fillRef>
            <a:effectRef idx="3">
              <a:schemeClr val="accent2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31796" tIns="131796" rIns="131796" bIns="131796" numCol="1" spcCol="1270" anchor="ctr" anchorCtr="0">
              <a:noAutofit/>
            </a:bodyPr>
            <a:lstStyle/>
            <a:p>
              <a:pPr lvl="0" algn="ctr" defTabSz="10668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IN" sz="2300" b="1" dirty="0" smtClean="0">
                  <a:latin typeface="Calibri"/>
                </a:rPr>
                <a:t>   </a:t>
              </a:r>
              <a:r>
                <a:rPr lang="en-IN" sz="2400" b="1" dirty="0" smtClean="0">
                  <a:latin typeface="Calibri"/>
                </a:rPr>
                <a:t>Company Creation</a:t>
              </a:r>
              <a:endParaRPr lang="en-IN" sz="2400" b="1" kern="1200" dirty="0">
                <a:effectLst/>
                <a:latin typeface="Calibri"/>
              </a:endParaRPr>
            </a:p>
          </p:txBody>
        </p:sp>
        <p:sp>
          <p:nvSpPr>
            <p:cNvPr id="39" name="Rectangle 38"/>
            <p:cNvSpPr/>
            <p:nvPr/>
          </p:nvSpPr>
          <p:spPr>
            <a:xfrm>
              <a:off x="1962956" y="1537075"/>
              <a:ext cx="1107729" cy="668059"/>
            </a:xfrm>
            <a:prstGeom prst="rect">
              <a:avLst/>
            </a:prstGeom>
          </p:spPr>
          <p:style>
            <a:lnRef idx="0">
              <a:schemeClr val="dk1">
                <a:alpha val="0"/>
                <a:hueOff val="0"/>
                <a:satOff val="0"/>
                <a:lumOff val="0"/>
                <a:alphaOff val="0"/>
              </a:schemeClr>
            </a:lnRef>
            <a:fillRef idx="0">
              <a:schemeClr val="lt1">
                <a:alpha val="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40" name="Bent-Up Arrow 39"/>
            <p:cNvSpPr/>
            <p:nvPr/>
          </p:nvSpPr>
          <p:spPr>
            <a:xfrm rot="5400000">
              <a:off x="1839294" y="3219102"/>
              <a:ext cx="701462" cy="798590"/>
            </a:xfrm>
            <a:prstGeom prst="bentUpArrow">
              <a:avLst>
                <a:gd name="adj1" fmla="val 32840"/>
                <a:gd name="adj2" fmla="val 25000"/>
                <a:gd name="adj3" fmla="val 35780"/>
              </a:avLst>
            </a:prstGeom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2">
                <a:tint val="50000"/>
                <a:hueOff val="0"/>
                <a:satOff val="0"/>
                <a:lumOff val="0"/>
                <a:alphaOff val="0"/>
              </a:schemeClr>
            </a:fillRef>
            <a:effectRef idx="3">
              <a:schemeClr val="accent2">
                <a:tint val="5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41" name="Freeform 40"/>
            <p:cNvSpPr/>
            <p:nvPr/>
          </p:nvSpPr>
          <p:spPr>
            <a:xfrm>
              <a:off x="1316330" y="2402369"/>
              <a:ext cx="2569872" cy="826556"/>
            </a:xfrm>
            <a:custGeom>
              <a:avLst/>
              <a:gdLst>
                <a:gd name="connsiteX0" fmla="*/ 0 w 2569872"/>
                <a:gd name="connsiteY0" fmla="*/ 137787 h 826556"/>
                <a:gd name="connsiteX1" fmla="*/ 137787 w 2569872"/>
                <a:gd name="connsiteY1" fmla="*/ 0 h 826556"/>
                <a:gd name="connsiteX2" fmla="*/ 2432085 w 2569872"/>
                <a:gd name="connsiteY2" fmla="*/ 0 h 826556"/>
                <a:gd name="connsiteX3" fmla="*/ 2569872 w 2569872"/>
                <a:gd name="connsiteY3" fmla="*/ 137787 h 826556"/>
                <a:gd name="connsiteX4" fmla="*/ 2569872 w 2569872"/>
                <a:gd name="connsiteY4" fmla="*/ 688769 h 826556"/>
                <a:gd name="connsiteX5" fmla="*/ 2432085 w 2569872"/>
                <a:gd name="connsiteY5" fmla="*/ 826556 h 826556"/>
                <a:gd name="connsiteX6" fmla="*/ 137787 w 2569872"/>
                <a:gd name="connsiteY6" fmla="*/ 826556 h 826556"/>
                <a:gd name="connsiteX7" fmla="*/ 0 w 2569872"/>
                <a:gd name="connsiteY7" fmla="*/ 688769 h 826556"/>
                <a:gd name="connsiteX8" fmla="*/ 0 w 2569872"/>
                <a:gd name="connsiteY8" fmla="*/ 137787 h 8265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569872" h="826556">
                  <a:moveTo>
                    <a:pt x="0" y="137787"/>
                  </a:moveTo>
                  <a:cubicBezTo>
                    <a:pt x="0" y="61689"/>
                    <a:pt x="61689" y="0"/>
                    <a:pt x="137787" y="0"/>
                  </a:cubicBezTo>
                  <a:lnTo>
                    <a:pt x="2432085" y="0"/>
                  </a:lnTo>
                  <a:cubicBezTo>
                    <a:pt x="2508183" y="0"/>
                    <a:pt x="2569872" y="61689"/>
                    <a:pt x="2569872" y="137787"/>
                  </a:cubicBezTo>
                  <a:lnTo>
                    <a:pt x="2569872" y="688769"/>
                  </a:lnTo>
                  <a:cubicBezTo>
                    <a:pt x="2569872" y="764867"/>
                    <a:pt x="2508183" y="826556"/>
                    <a:pt x="2432085" y="826556"/>
                  </a:cubicBezTo>
                  <a:lnTo>
                    <a:pt x="137787" y="826556"/>
                  </a:lnTo>
                  <a:cubicBezTo>
                    <a:pt x="61689" y="826556"/>
                    <a:pt x="0" y="764867"/>
                    <a:pt x="0" y="688769"/>
                  </a:cubicBezTo>
                  <a:lnTo>
                    <a:pt x="0" y="137787"/>
                  </a:lnTo>
                  <a:close/>
                </a:path>
              </a:pathLst>
            </a:custGeom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2">
                <a:hueOff val="0"/>
                <a:satOff val="0"/>
                <a:lumOff val="0"/>
                <a:alphaOff val="0"/>
              </a:schemeClr>
            </a:fillRef>
            <a:effectRef idx="3">
              <a:schemeClr val="accent2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31796" tIns="131796" rIns="131796" bIns="131796" numCol="1" spcCol="1270" anchor="ctr" anchorCtr="0">
              <a:noAutofit/>
            </a:bodyPr>
            <a:lstStyle/>
            <a:p>
              <a:pPr lvl="0" algn="ctr" defTabSz="10668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IN" sz="2400" b="1" dirty="0" smtClean="0">
                  <a:latin typeface="Calibri"/>
                </a:rPr>
                <a:t>Voucher</a:t>
              </a:r>
              <a:r>
                <a:rPr lang="en-IN" sz="2400" b="1" kern="1200" dirty="0" smtClean="0">
                  <a:effectLst/>
                  <a:latin typeface="Calibri"/>
                  <a:ea typeface="+mn-ea"/>
                  <a:cs typeface="+mn-cs"/>
                </a:rPr>
                <a:t> Entry</a:t>
              </a:r>
              <a:endParaRPr lang="en-IN" sz="2400" b="1" kern="1200" dirty="0">
                <a:effectLst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2" name="Rectangle 41"/>
            <p:cNvSpPr/>
            <p:nvPr/>
          </p:nvSpPr>
          <p:spPr>
            <a:xfrm>
              <a:off x="3199673" y="2453273"/>
              <a:ext cx="1266038" cy="668059"/>
            </a:xfrm>
            <a:prstGeom prst="rect">
              <a:avLst/>
            </a:prstGeom>
          </p:spPr>
          <p:style>
            <a:lnRef idx="0">
              <a:schemeClr val="dk1">
                <a:alpha val="0"/>
                <a:hueOff val="0"/>
                <a:satOff val="0"/>
                <a:lumOff val="0"/>
                <a:alphaOff val="0"/>
              </a:schemeClr>
            </a:lnRef>
            <a:fillRef idx="0">
              <a:schemeClr val="lt1">
                <a:alpha val="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43" name="Bent-Up Arrow 42"/>
            <p:cNvSpPr/>
            <p:nvPr/>
          </p:nvSpPr>
          <p:spPr>
            <a:xfrm rot="5400000">
              <a:off x="3365543" y="4085407"/>
              <a:ext cx="701462" cy="798590"/>
            </a:xfrm>
            <a:prstGeom prst="bentUpArrow">
              <a:avLst>
                <a:gd name="adj1" fmla="val 32840"/>
                <a:gd name="adj2" fmla="val 25000"/>
                <a:gd name="adj3" fmla="val 35780"/>
              </a:avLst>
            </a:prstGeom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2">
                <a:tint val="50000"/>
                <a:hueOff val="0"/>
                <a:satOff val="0"/>
                <a:lumOff val="0"/>
                <a:alphaOff val="0"/>
              </a:schemeClr>
            </a:fillRef>
            <a:effectRef idx="3">
              <a:schemeClr val="accent2">
                <a:tint val="5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44" name="Freeform 43"/>
            <p:cNvSpPr/>
            <p:nvPr/>
          </p:nvSpPr>
          <p:spPr>
            <a:xfrm>
              <a:off x="2602959" y="3369466"/>
              <a:ext cx="2426245" cy="826556"/>
            </a:xfrm>
            <a:custGeom>
              <a:avLst/>
              <a:gdLst>
                <a:gd name="connsiteX0" fmla="*/ 0 w 2426245"/>
                <a:gd name="connsiteY0" fmla="*/ 137787 h 826556"/>
                <a:gd name="connsiteX1" fmla="*/ 137787 w 2426245"/>
                <a:gd name="connsiteY1" fmla="*/ 0 h 826556"/>
                <a:gd name="connsiteX2" fmla="*/ 2288458 w 2426245"/>
                <a:gd name="connsiteY2" fmla="*/ 0 h 826556"/>
                <a:gd name="connsiteX3" fmla="*/ 2426245 w 2426245"/>
                <a:gd name="connsiteY3" fmla="*/ 137787 h 826556"/>
                <a:gd name="connsiteX4" fmla="*/ 2426245 w 2426245"/>
                <a:gd name="connsiteY4" fmla="*/ 688769 h 826556"/>
                <a:gd name="connsiteX5" fmla="*/ 2288458 w 2426245"/>
                <a:gd name="connsiteY5" fmla="*/ 826556 h 826556"/>
                <a:gd name="connsiteX6" fmla="*/ 137787 w 2426245"/>
                <a:gd name="connsiteY6" fmla="*/ 826556 h 826556"/>
                <a:gd name="connsiteX7" fmla="*/ 0 w 2426245"/>
                <a:gd name="connsiteY7" fmla="*/ 688769 h 826556"/>
                <a:gd name="connsiteX8" fmla="*/ 0 w 2426245"/>
                <a:gd name="connsiteY8" fmla="*/ 137787 h 8265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426245" h="826556">
                  <a:moveTo>
                    <a:pt x="0" y="137787"/>
                  </a:moveTo>
                  <a:cubicBezTo>
                    <a:pt x="0" y="61689"/>
                    <a:pt x="61689" y="0"/>
                    <a:pt x="137787" y="0"/>
                  </a:cubicBezTo>
                  <a:lnTo>
                    <a:pt x="2288458" y="0"/>
                  </a:lnTo>
                  <a:cubicBezTo>
                    <a:pt x="2364556" y="0"/>
                    <a:pt x="2426245" y="61689"/>
                    <a:pt x="2426245" y="137787"/>
                  </a:cubicBezTo>
                  <a:lnTo>
                    <a:pt x="2426245" y="688769"/>
                  </a:lnTo>
                  <a:cubicBezTo>
                    <a:pt x="2426245" y="764867"/>
                    <a:pt x="2364556" y="826556"/>
                    <a:pt x="2288458" y="826556"/>
                  </a:cubicBezTo>
                  <a:lnTo>
                    <a:pt x="137787" y="826556"/>
                  </a:lnTo>
                  <a:cubicBezTo>
                    <a:pt x="61689" y="826556"/>
                    <a:pt x="0" y="764867"/>
                    <a:pt x="0" y="688769"/>
                  </a:cubicBezTo>
                  <a:lnTo>
                    <a:pt x="0" y="137787"/>
                  </a:lnTo>
                  <a:close/>
                </a:path>
              </a:pathLst>
            </a:custGeom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2">
                <a:hueOff val="0"/>
                <a:satOff val="0"/>
                <a:lumOff val="0"/>
                <a:alphaOff val="0"/>
              </a:schemeClr>
            </a:fillRef>
            <a:effectRef idx="3">
              <a:schemeClr val="accent2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31796" tIns="131796" rIns="131796" bIns="131796" numCol="1" spcCol="1270" anchor="ctr" anchorCtr="0">
              <a:noAutofit/>
            </a:bodyPr>
            <a:lstStyle/>
            <a:p>
              <a:pPr lvl="0" algn="ctr" defTabSz="10668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2400" b="1" dirty="0" smtClean="0">
                  <a:latin typeface="Calibri"/>
                </a:rPr>
                <a:t>Reports</a:t>
              </a:r>
              <a:endParaRPr lang="en-IN" sz="2400" b="1" kern="1200" dirty="0">
                <a:effectLst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5" name="Rectangle 44"/>
            <p:cNvSpPr/>
            <p:nvPr/>
          </p:nvSpPr>
          <p:spPr>
            <a:xfrm>
              <a:off x="4360548" y="3386652"/>
              <a:ext cx="858837" cy="668059"/>
            </a:xfrm>
            <a:prstGeom prst="rect">
              <a:avLst/>
            </a:prstGeom>
          </p:spPr>
          <p:style>
            <a:lnRef idx="0">
              <a:schemeClr val="dk1">
                <a:alpha val="0"/>
                <a:hueOff val="0"/>
                <a:satOff val="0"/>
                <a:lumOff val="0"/>
                <a:alphaOff val="0"/>
              </a:schemeClr>
            </a:lnRef>
            <a:fillRef idx="0">
              <a:schemeClr val="lt1">
                <a:alpha val="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46" name="Bent-Up Arrow 45"/>
            <p:cNvSpPr/>
            <p:nvPr/>
          </p:nvSpPr>
          <p:spPr>
            <a:xfrm rot="5400000">
              <a:off x="4609159" y="5013903"/>
              <a:ext cx="701462" cy="798590"/>
            </a:xfrm>
            <a:prstGeom prst="bentUpArrow">
              <a:avLst>
                <a:gd name="adj1" fmla="val 32840"/>
                <a:gd name="adj2" fmla="val 25000"/>
                <a:gd name="adj3" fmla="val 35780"/>
              </a:avLst>
            </a:prstGeom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2">
                <a:tint val="50000"/>
                <a:hueOff val="0"/>
                <a:satOff val="0"/>
                <a:lumOff val="0"/>
                <a:alphaOff val="0"/>
              </a:schemeClr>
            </a:fillRef>
            <a:effectRef idx="3">
              <a:schemeClr val="accent2">
                <a:tint val="5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47" name="Freeform 46"/>
            <p:cNvSpPr/>
            <p:nvPr/>
          </p:nvSpPr>
          <p:spPr>
            <a:xfrm>
              <a:off x="4118377" y="4278844"/>
              <a:ext cx="2466922" cy="826556"/>
            </a:xfrm>
            <a:custGeom>
              <a:avLst/>
              <a:gdLst>
                <a:gd name="connsiteX0" fmla="*/ 0 w 2053817"/>
                <a:gd name="connsiteY0" fmla="*/ 137787 h 826556"/>
                <a:gd name="connsiteX1" fmla="*/ 137787 w 2053817"/>
                <a:gd name="connsiteY1" fmla="*/ 0 h 826556"/>
                <a:gd name="connsiteX2" fmla="*/ 1916030 w 2053817"/>
                <a:gd name="connsiteY2" fmla="*/ 0 h 826556"/>
                <a:gd name="connsiteX3" fmla="*/ 2053817 w 2053817"/>
                <a:gd name="connsiteY3" fmla="*/ 137787 h 826556"/>
                <a:gd name="connsiteX4" fmla="*/ 2053817 w 2053817"/>
                <a:gd name="connsiteY4" fmla="*/ 688769 h 826556"/>
                <a:gd name="connsiteX5" fmla="*/ 1916030 w 2053817"/>
                <a:gd name="connsiteY5" fmla="*/ 826556 h 826556"/>
                <a:gd name="connsiteX6" fmla="*/ 137787 w 2053817"/>
                <a:gd name="connsiteY6" fmla="*/ 826556 h 826556"/>
                <a:gd name="connsiteX7" fmla="*/ 0 w 2053817"/>
                <a:gd name="connsiteY7" fmla="*/ 688769 h 826556"/>
                <a:gd name="connsiteX8" fmla="*/ 0 w 2053817"/>
                <a:gd name="connsiteY8" fmla="*/ 137787 h 8265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053817" h="826556">
                  <a:moveTo>
                    <a:pt x="0" y="137787"/>
                  </a:moveTo>
                  <a:cubicBezTo>
                    <a:pt x="0" y="61689"/>
                    <a:pt x="61689" y="0"/>
                    <a:pt x="137787" y="0"/>
                  </a:cubicBezTo>
                  <a:lnTo>
                    <a:pt x="1916030" y="0"/>
                  </a:lnTo>
                  <a:cubicBezTo>
                    <a:pt x="1992128" y="0"/>
                    <a:pt x="2053817" y="61689"/>
                    <a:pt x="2053817" y="137787"/>
                  </a:cubicBezTo>
                  <a:lnTo>
                    <a:pt x="2053817" y="688769"/>
                  </a:lnTo>
                  <a:cubicBezTo>
                    <a:pt x="2053817" y="764867"/>
                    <a:pt x="1992128" y="826556"/>
                    <a:pt x="1916030" y="826556"/>
                  </a:cubicBezTo>
                  <a:lnTo>
                    <a:pt x="137787" y="826556"/>
                  </a:lnTo>
                  <a:cubicBezTo>
                    <a:pt x="61689" y="826556"/>
                    <a:pt x="0" y="764867"/>
                    <a:pt x="0" y="688769"/>
                  </a:cubicBezTo>
                  <a:lnTo>
                    <a:pt x="0" y="137787"/>
                  </a:lnTo>
                  <a:close/>
                </a:path>
              </a:pathLst>
            </a:custGeom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2">
                <a:hueOff val="0"/>
                <a:satOff val="0"/>
                <a:lumOff val="0"/>
                <a:alphaOff val="0"/>
              </a:schemeClr>
            </a:fillRef>
            <a:effectRef idx="3">
              <a:schemeClr val="accent2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31796" tIns="131796" rIns="131796" bIns="131796" numCol="1" spcCol="1270" anchor="ctr" anchorCtr="0">
              <a:noAutofit/>
            </a:bodyPr>
            <a:lstStyle/>
            <a:p>
              <a:pPr lvl="0" algn="ctr" defTabSz="10668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2400" b="1" kern="1200" dirty="0" smtClean="0">
                  <a:effectLst/>
                </a:rPr>
                <a:t>Trial Balance</a:t>
              </a:r>
              <a:endParaRPr lang="en-US" sz="2400" b="1" kern="1200" dirty="0">
                <a:effectLst/>
              </a:endParaRPr>
            </a:p>
          </p:txBody>
        </p:sp>
        <p:sp>
          <p:nvSpPr>
            <p:cNvPr id="48" name="Rectangle 47"/>
            <p:cNvSpPr/>
            <p:nvPr/>
          </p:nvSpPr>
          <p:spPr>
            <a:xfrm>
              <a:off x="5604165" y="4315148"/>
              <a:ext cx="858837" cy="668059"/>
            </a:xfrm>
            <a:prstGeom prst="rect">
              <a:avLst/>
            </a:prstGeom>
          </p:spPr>
          <p:style>
            <a:lnRef idx="0">
              <a:schemeClr val="dk1">
                <a:alpha val="0"/>
                <a:hueOff val="0"/>
                <a:satOff val="0"/>
                <a:lumOff val="0"/>
                <a:alphaOff val="0"/>
              </a:schemeClr>
            </a:lnRef>
            <a:fillRef idx="0">
              <a:schemeClr val="lt1">
                <a:alpha val="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49" name="Freeform 48"/>
            <p:cNvSpPr/>
            <p:nvPr/>
          </p:nvSpPr>
          <p:spPr>
            <a:xfrm>
              <a:off x="5334000" y="5269444"/>
              <a:ext cx="2431938" cy="826556"/>
            </a:xfrm>
            <a:custGeom>
              <a:avLst/>
              <a:gdLst>
                <a:gd name="connsiteX0" fmla="*/ 0 w 2124998"/>
                <a:gd name="connsiteY0" fmla="*/ 137787 h 826556"/>
                <a:gd name="connsiteX1" fmla="*/ 137787 w 2124998"/>
                <a:gd name="connsiteY1" fmla="*/ 0 h 826556"/>
                <a:gd name="connsiteX2" fmla="*/ 1987211 w 2124998"/>
                <a:gd name="connsiteY2" fmla="*/ 0 h 826556"/>
                <a:gd name="connsiteX3" fmla="*/ 2124998 w 2124998"/>
                <a:gd name="connsiteY3" fmla="*/ 137787 h 826556"/>
                <a:gd name="connsiteX4" fmla="*/ 2124998 w 2124998"/>
                <a:gd name="connsiteY4" fmla="*/ 688769 h 826556"/>
                <a:gd name="connsiteX5" fmla="*/ 1987211 w 2124998"/>
                <a:gd name="connsiteY5" fmla="*/ 826556 h 826556"/>
                <a:gd name="connsiteX6" fmla="*/ 137787 w 2124998"/>
                <a:gd name="connsiteY6" fmla="*/ 826556 h 826556"/>
                <a:gd name="connsiteX7" fmla="*/ 0 w 2124998"/>
                <a:gd name="connsiteY7" fmla="*/ 688769 h 826556"/>
                <a:gd name="connsiteX8" fmla="*/ 0 w 2124998"/>
                <a:gd name="connsiteY8" fmla="*/ 137787 h 8265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24998" h="826556">
                  <a:moveTo>
                    <a:pt x="0" y="137787"/>
                  </a:moveTo>
                  <a:cubicBezTo>
                    <a:pt x="0" y="61689"/>
                    <a:pt x="61689" y="0"/>
                    <a:pt x="137787" y="0"/>
                  </a:cubicBezTo>
                  <a:lnTo>
                    <a:pt x="1987211" y="0"/>
                  </a:lnTo>
                  <a:cubicBezTo>
                    <a:pt x="2063309" y="0"/>
                    <a:pt x="2124998" y="61689"/>
                    <a:pt x="2124998" y="137787"/>
                  </a:cubicBezTo>
                  <a:lnTo>
                    <a:pt x="2124998" y="688769"/>
                  </a:lnTo>
                  <a:cubicBezTo>
                    <a:pt x="2124998" y="764867"/>
                    <a:pt x="2063309" y="826556"/>
                    <a:pt x="1987211" y="826556"/>
                  </a:cubicBezTo>
                  <a:lnTo>
                    <a:pt x="137787" y="826556"/>
                  </a:lnTo>
                  <a:cubicBezTo>
                    <a:pt x="61689" y="826556"/>
                    <a:pt x="0" y="764867"/>
                    <a:pt x="0" y="688769"/>
                  </a:cubicBezTo>
                  <a:lnTo>
                    <a:pt x="0" y="137787"/>
                  </a:lnTo>
                  <a:close/>
                </a:path>
              </a:pathLst>
            </a:custGeom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2">
                <a:hueOff val="0"/>
                <a:satOff val="0"/>
                <a:lumOff val="0"/>
                <a:alphaOff val="0"/>
              </a:schemeClr>
            </a:fillRef>
            <a:effectRef idx="3">
              <a:schemeClr val="accent2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31796" tIns="131796" rIns="131796" bIns="131796" numCol="1" spcCol="1270" anchor="ctr" anchorCtr="0">
              <a:noAutofit/>
            </a:bodyPr>
            <a:lstStyle/>
            <a:p>
              <a:pPr lvl="0" algn="ctr" defTabSz="10668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2400" b="1" kern="1200" dirty="0" smtClean="0">
                  <a:effectLst/>
                </a:rPr>
                <a:t>Final Accounts</a:t>
              </a:r>
              <a:endParaRPr lang="en-US" sz="2400" b="1" kern="1200" dirty="0">
                <a:effectLst/>
              </a:endParaRPr>
            </a:p>
          </p:txBody>
        </p:sp>
      </p:grpSp>
      <p:sp>
        <p:nvSpPr>
          <p:cNvPr id="58" name="TextBox 57"/>
          <p:cNvSpPr txBox="1"/>
          <p:nvPr/>
        </p:nvSpPr>
        <p:spPr>
          <a:xfrm>
            <a:off x="6477000" y="5867400"/>
            <a:ext cx="2273146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 smtClean="0">
                <a:latin typeface="Calibri" pitchFamily="34" charset="0"/>
                <a:cs typeface="Calibri" pitchFamily="34" charset="0"/>
              </a:rPr>
              <a:t>1.Trading A/c</a:t>
            </a:r>
          </a:p>
          <a:p>
            <a:r>
              <a:rPr lang="en-US" b="1" dirty="0" smtClean="0">
                <a:latin typeface="Calibri" pitchFamily="34" charset="0"/>
                <a:cs typeface="Calibri" pitchFamily="34" charset="0"/>
              </a:rPr>
              <a:t>2.Profit &amp; Loss A/c</a:t>
            </a:r>
          </a:p>
          <a:p>
            <a:r>
              <a:rPr lang="en-US" b="1" dirty="0" smtClean="0">
                <a:latin typeface="Calibri" pitchFamily="34" charset="0"/>
                <a:cs typeface="Calibri" pitchFamily="34" charset="0"/>
              </a:rPr>
              <a:t>3.Balance Sheet</a:t>
            </a:r>
            <a:endParaRPr lang="en-US" b="1" dirty="0">
              <a:latin typeface="Calibri" pitchFamily="34" charset="0"/>
              <a:cs typeface="Calibri" pitchFamily="34" charset="0"/>
            </a:endParaRPr>
          </a:p>
        </p:txBody>
      </p:sp>
      <p:sp>
        <p:nvSpPr>
          <p:cNvPr id="2" name="Striped Right Arrow 1"/>
          <p:cNvSpPr/>
          <p:nvPr/>
        </p:nvSpPr>
        <p:spPr>
          <a:xfrm>
            <a:off x="2592936" y="1447800"/>
            <a:ext cx="1217064" cy="304800"/>
          </a:xfrm>
          <a:prstGeom prst="stripedRightArrow">
            <a:avLst/>
          </a:prstGeom>
          <a:ln>
            <a:solidFill>
              <a:schemeClr val="bg1">
                <a:lumMod val="85000"/>
              </a:schemeClr>
            </a:solidFill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Box 2"/>
          <p:cNvSpPr txBox="1"/>
          <p:nvPr/>
        </p:nvSpPr>
        <p:spPr>
          <a:xfrm>
            <a:off x="3810000" y="1222229"/>
            <a:ext cx="53340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AutoNum type="arabicPeriod"/>
            </a:pPr>
            <a:r>
              <a:rPr lang="en-US" sz="2000" b="1" dirty="0" smtClean="0">
                <a:latin typeface="Calibri" pitchFamily="34" charset="0"/>
                <a:cs typeface="Calibri" pitchFamily="34" charset="0"/>
              </a:rPr>
              <a:t>Group/Ledger Creation.</a:t>
            </a:r>
          </a:p>
          <a:p>
            <a:pPr marL="342900" indent="-342900">
              <a:buAutoNum type="arabicPeriod"/>
            </a:pPr>
            <a:r>
              <a:rPr lang="en-US" sz="2000" b="1" dirty="0" smtClean="0">
                <a:latin typeface="Calibri" pitchFamily="34" charset="0"/>
                <a:cs typeface="Calibri" pitchFamily="34" charset="0"/>
              </a:rPr>
              <a:t>Stock Creation</a:t>
            </a:r>
            <a:endParaRPr lang="en-US" sz="2000" b="1" dirty="0">
              <a:latin typeface="Calibri" pitchFamily="34" charset="0"/>
              <a:cs typeface="Calibri" pitchFamily="34" charset="0"/>
            </a:endParaRPr>
          </a:p>
        </p:txBody>
      </p:sp>
      <p:sp>
        <p:nvSpPr>
          <p:cNvPr id="24" name="Left-Up Arrow 23"/>
          <p:cNvSpPr/>
          <p:nvPr/>
        </p:nvSpPr>
        <p:spPr>
          <a:xfrm rot="5400000">
            <a:off x="5562600" y="5867400"/>
            <a:ext cx="850392" cy="850392"/>
          </a:xfrm>
          <a:prstGeom prst="leftUpArrow">
            <a:avLst>
              <a:gd name="adj1" fmla="val 14759"/>
              <a:gd name="adj2" fmla="val 16680"/>
              <a:gd name="adj3" fmla="val 23720"/>
            </a:avLst>
          </a:prstGeom>
          <a:solidFill>
            <a:schemeClr val="accent2">
              <a:lumMod val="75000"/>
            </a:schemeClr>
          </a:solidFill>
          <a:ln>
            <a:solidFill>
              <a:schemeClr val="bg1">
                <a:lumMod val="50000"/>
              </a:schemeClr>
            </a:solidFill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5" name="Straight Arrow Connector 4"/>
          <p:cNvCxnSpPr/>
          <p:nvPr/>
        </p:nvCxnSpPr>
        <p:spPr>
          <a:xfrm flipH="1">
            <a:off x="2209800" y="3967422"/>
            <a:ext cx="383136" cy="1747578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5" name="Straight Arrow Connector 24"/>
          <p:cNvCxnSpPr/>
          <p:nvPr/>
        </p:nvCxnSpPr>
        <p:spPr>
          <a:xfrm flipH="1">
            <a:off x="2209800" y="4833867"/>
            <a:ext cx="1747614" cy="975157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6" name="Straight Arrow Connector 25"/>
          <p:cNvCxnSpPr/>
          <p:nvPr/>
        </p:nvCxnSpPr>
        <p:spPr>
          <a:xfrm flipH="1">
            <a:off x="2362282" y="5809024"/>
            <a:ext cx="2745504" cy="58376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8" name="Oval Callout 7"/>
          <p:cNvSpPr/>
          <p:nvPr/>
        </p:nvSpPr>
        <p:spPr>
          <a:xfrm>
            <a:off x="0" y="4722012"/>
            <a:ext cx="2072779" cy="1191929"/>
          </a:xfrm>
          <a:prstGeom prst="wedgeEllipseCallout">
            <a:avLst>
              <a:gd name="adj1" fmla="val 58687"/>
              <a:gd name="adj2" fmla="val 48801"/>
            </a:avLst>
          </a:prstGeom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Automatically prepared by Tally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855823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isInverted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8" name="Object 3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7257644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5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1" name="Straight Connector 10"/>
          <p:cNvCxnSpPr/>
          <p:nvPr/>
        </p:nvCxnSpPr>
        <p:spPr>
          <a:xfrm rot="5400000">
            <a:off x="4581414" y="-2181922"/>
            <a:ext cx="0" cy="6345044"/>
          </a:xfrm>
          <a:prstGeom prst="line">
            <a:avLst/>
          </a:prstGeom>
          <a:ln w="3175">
            <a:solidFill>
              <a:schemeClr val="bg1">
                <a:lumMod val="75000"/>
                <a:alpha val="48000"/>
              </a:schemeClr>
            </a:solidFill>
          </a:ln>
          <a:effectLst>
            <a:outerShdw blurRad="38100" algn="ctr" rotWithShape="0">
              <a:schemeClr val="tx1">
                <a:alpha val="44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3" name="TextBox 12"/>
          <p:cNvSpPr txBox="1"/>
          <p:nvPr/>
        </p:nvSpPr>
        <p:spPr>
          <a:xfrm>
            <a:off x="324531" y="115669"/>
            <a:ext cx="8543925" cy="64633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b="1" dirty="0" smtClean="0">
                <a:solidFill>
                  <a:srgbClr val="0B538F"/>
                </a:solidFill>
                <a:latin typeface="Neo Sans Std Medium" pitchFamily="34" charset="0"/>
                <a:ea typeface="ＭＳ Ｐゴシック" charset="0"/>
              </a:rPr>
              <a:t>Tally ERP.9</a:t>
            </a:r>
          </a:p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sz="2400" b="1" dirty="0" smtClean="0">
                <a:solidFill>
                  <a:srgbClr val="0B538F"/>
                </a:solidFill>
                <a:latin typeface="Neo Sans Std" pitchFamily="34" charset="0"/>
                <a:ea typeface="ＭＳ Ｐゴシック" charset="0"/>
              </a:rPr>
              <a:t>Introduction of Accounting</a:t>
            </a:r>
            <a:endParaRPr lang="en-US" sz="2400" b="1" dirty="0">
              <a:solidFill>
                <a:srgbClr val="0B538F"/>
              </a:solidFill>
              <a:latin typeface="Neo Sans Std" pitchFamily="34" charset="0"/>
              <a:ea typeface="ＭＳ Ｐゴシック" charset="0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-1" y="1143000"/>
            <a:ext cx="9094675" cy="33855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sz="2200" b="1" dirty="0" smtClean="0">
                <a:solidFill>
                  <a:srgbClr val="0B538F"/>
                </a:solidFill>
                <a:latin typeface="Neo Sans Std" pitchFamily="34" charset="0"/>
                <a:ea typeface="ＭＳ Ｐゴシック" charset="0"/>
              </a:rPr>
              <a:t>Journal:</a:t>
            </a:r>
            <a:endParaRPr lang="en-US" sz="2200" b="1" dirty="0">
              <a:solidFill>
                <a:srgbClr val="0B538F"/>
              </a:solidFill>
              <a:latin typeface="Neo Sans Std" pitchFamily="34" charset="0"/>
              <a:ea typeface="ＭＳ Ｐゴシック" charset="0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0" y="1557754"/>
            <a:ext cx="9094674" cy="1354217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spcAft>
                <a:spcPts val="1200"/>
              </a:spcAft>
            </a:pPr>
            <a:r>
              <a:rPr lang="en-US" b="1" dirty="0" smtClean="0">
                <a:solidFill>
                  <a:prstClr val="black"/>
                </a:solidFill>
                <a:latin typeface="Neo Sans Std" pitchFamily="34" charset="0"/>
                <a:cs typeface="Calibri" pitchFamily="34" charset="0"/>
              </a:rPr>
              <a:t>                         It is a book of original entry or prime entry. It is a simple book of accounts in which all the business transactions are originally recorded date-wise &amp; from this they are posted to the </a:t>
            </a:r>
            <a:r>
              <a:rPr lang="en-US" b="1" dirty="0">
                <a:solidFill>
                  <a:prstClr val="black"/>
                </a:solidFill>
                <a:latin typeface="Neo Sans Std" pitchFamily="34" charset="0"/>
                <a:cs typeface="Calibri" pitchFamily="34" charset="0"/>
              </a:rPr>
              <a:t>l</a:t>
            </a:r>
            <a:r>
              <a:rPr lang="en-US" b="1" dirty="0" smtClean="0">
                <a:solidFill>
                  <a:prstClr val="black"/>
                </a:solidFill>
                <a:latin typeface="Neo Sans Std" pitchFamily="34" charset="0"/>
                <a:cs typeface="Calibri" pitchFamily="34" charset="0"/>
              </a:rPr>
              <a:t>edger account.</a:t>
            </a:r>
          </a:p>
          <a:p>
            <a:pPr>
              <a:spcAft>
                <a:spcPts val="1200"/>
              </a:spcAft>
            </a:pPr>
            <a:r>
              <a:rPr lang="en-US" b="1" dirty="0" smtClean="0">
                <a:solidFill>
                  <a:prstClr val="black"/>
                </a:solidFill>
                <a:latin typeface="Neo Sans Std" pitchFamily="34" charset="0"/>
                <a:cs typeface="Calibri" pitchFamily="34" charset="0"/>
              </a:rPr>
              <a:t>       Specimen: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0" y="3647182"/>
            <a:ext cx="9139409" cy="1077218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spcAft>
                <a:spcPts val="1200"/>
              </a:spcAft>
            </a:pPr>
            <a:r>
              <a:rPr lang="en-US" b="1" dirty="0" smtClean="0">
                <a:solidFill>
                  <a:prstClr val="black"/>
                </a:solidFill>
                <a:latin typeface="Neo Sans Std" pitchFamily="34" charset="0"/>
                <a:cs typeface="Calibri" pitchFamily="34" charset="0"/>
              </a:rPr>
              <a:t>                          Ledger is a main book of account in which various accounts of personal, real, &amp; nominal nature are opened &amp; maintained.</a:t>
            </a:r>
          </a:p>
          <a:p>
            <a:pPr>
              <a:spcAft>
                <a:spcPts val="1200"/>
              </a:spcAft>
            </a:pPr>
            <a:r>
              <a:rPr lang="en-US" b="1" dirty="0">
                <a:solidFill>
                  <a:prstClr val="black"/>
                </a:solidFill>
                <a:latin typeface="Neo Sans Std" pitchFamily="34" charset="0"/>
                <a:cs typeface="Calibri" pitchFamily="34" charset="0"/>
              </a:rPr>
              <a:t> </a:t>
            </a:r>
            <a:r>
              <a:rPr lang="en-US" b="1" dirty="0" smtClean="0">
                <a:solidFill>
                  <a:prstClr val="black"/>
                </a:solidFill>
                <a:latin typeface="Neo Sans Std" pitchFamily="34" charset="0"/>
                <a:cs typeface="Calibri" pitchFamily="34" charset="0"/>
              </a:rPr>
              <a:t>     Specimen:</a:t>
            </a:r>
            <a:endParaRPr lang="en-US" b="1" dirty="0">
              <a:solidFill>
                <a:prstClr val="black"/>
              </a:solidFill>
              <a:latin typeface="Neo Sans Std" pitchFamily="34" charset="0"/>
              <a:cs typeface="Calibri" pitchFamily="34" charset="0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-1" y="3187244"/>
            <a:ext cx="9094675" cy="33855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sz="2200" b="1" dirty="0" smtClean="0">
                <a:solidFill>
                  <a:srgbClr val="0B538F"/>
                </a:solidFill>
                <a:latin typeface="Neo Sans Std" pitchFamily="34" charset="0"/>
                <a:ea typeface="ＭＳ Ｐゴシック" charset="0"/>
              </a:rPr>
              <a:t>Ledger:</a:t>
            </a:r>
            <a:endParaRPr lang="en-US" sz="2200" b="1" dirty="0">
              <a:solidFill>
                <a:srgbClr val="0B538F"/>
              </a:solidFill>
              <a:latin typeface="Neo Sans Std" pitchFamily="34" charset="0"/>
              <a:ea typeface="ＭＳ Ｐゴシック" charset="0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0" y="5029200"/>
            <a:ext cx="9094674" cy="33855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sz="2200" b="1" dirty="0" smtClean="0">
                <a:solidFill>
                  <a:srgbClr val="0B538F"/>
                </a:solidFill>
                <a:latin typeface="Neo Sans Std" pitchFamily="34" charset="0"/>
                <a:ea typeface="ＭＳ Ｐゴシック" charset="0"/>
              </a:rPr>
              <a:t>Trial Balance:</a:t>
            </a:r>
            <a:endParaRPr lang="en-US" sz="2200" b="1" dirty="0">
              <a:solidFill>
                <a:srgbClr val="0B538F"/>
              </a:solidFill>
              <a:latin typeface="Neo Sans Std" pitchFamily="34" charset="0"/>
              <a:ea typeface="ＭＳ Ｐゴシック" charset="0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0" y="5486400"/>
            <a:ext cx="9094675" cy="1077218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spcAft>
                <a:spcPts val="1200"/>
              </a:spcAft>
            </a:pPr>
            <a:r>
              <a:rPr lang="en-US" b="1" dirty="0" smtClean="0">
                <a:solidFill>
                  <a:prstClr val="black"/>
                </a:solidFill>
                <a:latin typeface="Neo Sans Std" pitchFamily="34" charset="0"/>
                <a:cs typeface="Calibri" pitchFamily="34" charset="0"/>
              </a:rPr>
              <a:t>                          Trial balance is a statement prepared with the balance or total of debit &amp; credits of all ledger to check whether the figures are correct &amp; balanced.</a:t>
            </a:r>
          </a:p>
          <a:p>
            <a:pPr>
              <a:spcAft>
                <a:spcPts val="1200"/>
              </a:spcAft>
            </a:pPr>
            <a:r>
              <a:rPr lang="en-US" b="1" dirty="0">
                <a:solidFill>
                  <a:prstClr val="black"/>
                </a:solidFill>
                <a:latin typeface="Neo Sans Std" pitchFamily="34" charset="0"/>
                <a:cs typeface="Calibri" pitchFamily="34" charset="0"/>
              </a:rPr>
              <a:t> </a:t>
            </a:r>
            <a:r>
              <a:rPr lang="en-US" b="1" dirty="0" smtClean="0">
                <a:solidFill>
                  <a:prstClr val="black"/>
                </a:solidFill>
                <a:latin typeface="Neo Sans Std" pitchFamily="34" charset="0"/>
                <a:cs typeface="Calibri" pitchFamily="34" charset="0"/>
              </a:rPr>
              <a:t>     Specimen:</a:t>
            </a:r>
          </a:p>
        </p:txBody>
      </p:sp>
    </p:spTree>
    <p:extLst>
      <p:ext uri="{BB962C8B-B14F-4D97-AF65-F5344CB8AC3E}">
        <p14:creationId xmlns:p14="http://schemas.microsoft.com/office/powerpoint/2010/main" val="29373656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isInverted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8" name="Object 3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4821832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7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1" name="Straight Connector 10"/>
          <p:cNvCxnSpPr/>
          <p:nvPr/>
        </p:nvCxnSpPr>
        <p:spPr>
          <a:xfrm rot="5400000">
            <a:off x="4581414" y="-2181922"/>
            <a:ext cx="0" cy="6345044"/>
          </a:xfrm>
          <a:prstGeom prst="line">
            <a:avLst/>
          </a:prstGeom>
          <a:ln w="3175">
            <a:solidFill>
              <a:schemeClr val="bg1">
                <a:lumMod val="75000"/>
                <a:alpha val="48000"/>
              </a:schemeClr>
            </a:solidFill>
          </a:ln>
          <a:effectLst>
            <a:outerShdw blurRad="38100" algn="ctr" rotWithShape="0">
              <a:schemeClr val="tx1">
                <a:alpha val="44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3" name="TextBox 12"/>
          <p:cNvSpPr txBox="1"/>
          <p:nvPr/>
        </p:nvSpPr>
        <p:spPr>
          <a:xfrm>
            <a:off x="324531" y="115669"/>
            <a:ext cx="8543925" cy="64633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b="1" dirty="0" smtClean="0">
                <a:solidFill>
                  <a:srgbClr val="0B538F"/>
                </a:solidFill>
                <a:latin typeface="Neo Sans Std Medium" pitchFamily="34" charset="0"/>
                <a:ea typeface="ＭＳ Ｐゴシック" charset="0"/>
              </a:rPr>
              <a:t>Tally ERP.9</a:t>
            </a:r>
          </a:p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sz="2400" b="1" dirty="0" smtClean="0">
                <a:solidFill>
                  <a:srgbClr val="0B538F"/>
                </a:solidFill>
                <a:latin typeface="Neo Sans Std" pitchFamily="34" charset="0"/>
                <a:ea typeface="ＭＳ Ｐゴシック" charset="0"/>
              </a:rPr>
              <a:t>Introduction of Accounting</a:t>
            </a:r>
            <a:endParaRPr lang="en-US" sz="2400" b="1" dirty="0">
              <a:solidFill>
                <a:srgbClr val="0B538F"/>
              </a:solidFill>
              <a:latin typeface="Neo Sans Std" pitchFamily="34" charset="0"/>
              <a:ea typeface="ＭＳ Ｐゴシック" charset="0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-1" y="1227654"/>
            <a:ext cx="9094675" cy="33855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sz="2200" b="1" dirty="0" smtClean="0">
                <a:solidFill>
                  <a:srgbClr val="0B538F"/>
                </a:solidFill>
                <a:latin typeface="Neo Sans Std" pitchFamily="34" charset="0"/>
                <a:ea typeface="ＭＳ Ｐゴシック" charset="0"/>
              </a:rPr>
              <a:t>Trading Account:</a:t>
            </a:r>
            <a:endParaRPr lang="en-US" sz="2200" b="1" dirty="0">
              <a:solidFill>
                <a:srgbClr val="0B538F"/>
              </a:solidFill>
              <a:latin typeface="Neo Sans Std" pitchFamily="34" charset="0"/>
              <a:ea typeface="ＭＳ Ｐゴシック" charset="0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0" y="1642408"/>
            <a:ext cx="9094674" cy="1938992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spcAft>
                <a:spcPts val="1200"/>
              </a:spcAft>
            </a:pPr>
            <a:r>
              <a:rPr lang="en-US" b="1" dirty="0" smtClean="0">
                <a:solidFill>
                  <a:prstClr val="black"/>
                </a:solidFill>
                <a:latin typeface="Neo Sans Std" pitchFamily="34" charset="0"/>
                <a:cs typeface="Calibri" pitchFamily="34" charset="0"/>
              </a:rPr>
              <a:t>                         Trading account is prepared to find out the Gross Profit or Gross Loss made by the concern from buying &amp; selling during the accounting year.</a:t>
            </a:r>
          </a:p>
          <a:p>
            <a:pPr>
              <a:spcAft>
                <a:spcPts val="1200"/>
              </a:spcAft>
            </a:pPr>
            <a:r>
              <a:rPr lang="en-US" b="1" dirty="0" smtClean="0">
                <a:solidFill>
                  <a:prstClr val="black"/>
                </a:solidFill>
                <a:latin typeface="Neo Sans Std" pitchFamily="34" charset="0"/>
                <a:cs typeface="Calibri" pitchFamily="34" charset="0"/>
              </a:rPr>
              <a:t>Note: All Expenses relating to the Trading A/c are Direct Expenses.                                   </a:t>
            </a:r>
          </a:p>
          <a:p>
            <a:pPr>
              <a:spcAft>
                <a:spcPts val="1200"/>
              </a:spcAft>
            </a:pPr>
            <a:r>
              <a:rPr lang="en-US" b="1" dirty="0">
                <a:solidFill>
                  <a:prstClr val="black"/>
                </a:solidFill>
                <a:latin typeface="Neo Sans Std" pitchFamily="34" charset="0"/>
                <a:cs typeface="Calibri" pitchFamily="34" charset="0"/>
              </a:rPr>
              <a:t> </a:t>
            </a:r>
            <a:r>
              <a:rPr lang="en-US" b="1" dirty="0" smtClean="0">
                <a:solidFill>
                  <a:prstClr val="black"/>
                </a:solidFill>
                <a:latin typeface="Neo Sans Std" pitchFamily="34" charset="0"/>
                <a:cs typeface="Calibri" pitchFamily="34" charset="0"/>
              </a:rPr>
              <a:t>         All Incomes </a:t>
            </a:r>
            <a:r>
              <a:rPr lang="en-US" b="1" dirty="0">
                <a:solidFill>
                  <a:prstClr val="black"/>
                </a:solidFill>
                <a:latin typeface="Neo Sans Std" pitchFamily="34" charset="0"/>
                <a:cs typeface="Calibri" pitchFamily="34" charset="0"/>
              </a:rPr>
              <a:t>relating to the Trading A/c are Direct </a:t>
            </a:r>
            <a:r>
              <a:rPr lang="en-US" b="1" dirty="0" smtClean="0">
                <a:solidFill>
                  <a:prstClr val="black"/>
                </a:solidFill>
                <a:latin typeface="Neo Sans Std" pitchFamily="34" charset="0"/>
                <a:cs typeface="Calibri" pitchFamily="34" charset="0"/>
              </a:rPr>
              <a:t>Incomes.</a:t>
            </a:r>
          </a:p>
          <a:p>
            <a:pPr>
              <a:spcAft>
                <a:spcPts val="1200"/>
              </a:spcAft>
            </a:pPr>
            <a:r>
              <a:rPr lang="en-US" b="1" dirty="0" smtClean="0">
                <a:solidFill>
                  <a:prstClr val="black"/>
                </a:solidFill>
                <a:latin typeface="Neo Sans Std" pitchFamily="34" charset="0"/>
                <a:cs typeface="Calibri" pitchFamily="34" charset="0"/>
              </a:rPr>
              <a:t>      Format: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0" y="4411920"/>
            <a:ext cx="9139409" cy="236988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spcAft>
                <a:spcPts val="1200"/>
              </a:spcAft>
            </a:pPr>
            <a:r>
              <a:rPr lang="en-US" b="1" dirty="0" smtClean="0">
                <a:solidFill>
                  <a:prstClr val="black"/>
                </a:solidFill>
                <a:latin typeface="Neo Sans Std" pitchFamily="34" charset="0"/>
                <a:cs typeface="Calibri" pitchFamily="34" charset="0"/>
              </a:rPr>
              <a:t>                          This A/c is prepared to find out the Net Profit or Net Loss made by the concern during the accounting year.</a:t>
            </a:r>
          </a:p>
          <a:p>
            <a:pPr>
              <a:spcAft>
                <a:spcPts val="1200"/>
              </a:spcAft>
            </a:pPr>
            <a:r>
              <a:rPr lang="en-US" b="1" dirty="0">
                <a:solidFill>
                  <a:prstClr val="black"/>
                </a:solidFill>
                <a:latin typeface="Neo Sans Std" pitchFamily="34" charset="0"/>
                <a:cs typeface="Calibri" pitchFamily="34" charset="0"/>
              </a:rPr>
              <a:t>Note: All Expenses relating to the </a:t>
            </a:r>
            <a:r>
              <a:rPr lang="en-US" b="1" dirty="0" smtClean="0">
                <a:solidFill>
                  <a:prstClr val="black"/>
                </a:solidFill>
                <a:latin typeface="Neo Sans Std" pitchFamily="34" charset="0"/>
                <a:cs typeface="Calibri" pitchFamily="34" charset="0"/>
              </a:rPr>
              <a:t>Profit &amp; Loss </a:t>
            </a:r>
            <a:r>
              <a:rPr lang="en-US" b="1" dirty="0">
                <a:solidFill>
                  <a:prstClr val="black"/>
                </a:solidFill>
                <a:latin typeface="Neo Sans Std" pitchFamily="34" charset="0"/>
                <a:cs typeface="Calibri" pitchFamily="34" charset="0"/>
              </a:rPr>
              <a:t>A/c are </a:t>
            </a:r>
            <a:r>
              <a:rPr lang="en-US" b="1" dirty="0" smtClean="0">
                <a:solidFill>
                  <a:prstClr val="black"/>
                </a:solidFill>
                <a:latin typeface="Neo Sans Std" pitchFamily="34" charset="0"/>
                <a:cs typeface="Calibri" pitchFamily="34" charset="0"/>
              </a:rPr>
              <a:t>Indirect </a:t>
            </a:r>
            <a:r>
              <a:rPr lang="en-US" b="1" dirty="0">
                <a:solidFill>
                  <a:prstClr val="black"/>
                </a:solidFill>
                <a:latin typeface="Neo Sans Std" pitchFamily="34" charset="0"/>
                <a:cs typeface="Calibri" pitchFamily="34" charset="0"/>
              </a:rPr>
              <a:t>Expenses.                                   </a:t>
            </a:r>
          </a:p>
          <a:p>
            <a:pPr>
              <a:spcAft>
                <a:spcPts val="1200"/>
              </a:spcAft>
            </a:pPr>
            <a:r>
              <a:rPr lang="en-US" b="1" dirty="0">
                <a:solidFill>
                  <a:prstClr val="black"/>
                </a:solidFill>
                <a:latin typeface="Neo Sans Std" pitchFamily="34" charset="0"/>
                <a:cs typeface="Calibri" pitchFamily="34" charset="0"/>
              </a:rPr>
              <a:t>          All Incomes relating to the Profit &amp; Loss</a:t>
            </a:r>
            <a:r>
              <a:rPr lang="en-US" b="1" dirty="0" smtClean="0">
                <a:solidFill>
                  <a:prstClr val="black"/>
                </a:solidFill>
                <a:latin typeface="Neo Sans Std" pitchFamily="34" charset="0"/>
                <a:cs typeface="Calibri" pitchFamily="34" charset="0"/>
              </a:rPr>
              <a:t> </a:t>
            </a:r>
            <a:r>
              <a:rPr lang="en-US" b="1" dirty="0">
                <a:solidFill>
                  <a:prstClr val="black"/>
                </a:solidFill>
                <a:latin typeface="Neo Sans Std" pitchFamily="34" charset="0"/>
                <a:cs typeface="Calibri" pitchFamily="34" charset="0"/>
              </a:rPr>
              <a:t>A/c are </a:t>
            </a:r>
            <a:r>
              <a:rPr lang="en-US" b="1" dirty="0" smtClean="0">
                <a:solidFill>
                  <a:prstClr val="black"/>
                </a:solidFill>
                <a:latin typeface="Neo Sans Std" pitchFamily="34" charset="0"/>
                <a:cs typeface="Calibri" pitchFamily="34" charset="0"/>
              </a:rPr>
              <a:t>Indirect </a:t>
            </a:r>
            <a:r>
              <a:rPr lang="en-US" b="1" dirty="0">
                <a:solidFill>
                  <a:prstClr val="black"/>
                </a:solidFill>
                <a:latin typeface="Neo Sans Std" pitchFamily="34" charset="0"/>
                <a:cs typeface="Calibri" pitchFamily="34" charset="0"/>
              </a:rPr>
              <a:t>Incomes</a:t>
            </a:r>
            <a:r>
              <a:rPr lang="en-US" b="1" dirty="0" smtClean="0">
                <a:solidFill>
                  <a:prstClr val="black"/>
                </a:solidFill>
                <a:latin typeface="Neo Sans Std" pitchFamily="34" charset="0"/>
                <a:cs typeface="Calibri" pitchFamily="34" charset="0"/>
              </a:rPr>
              <a:t>.</a:t>
            </a:r>
          </a:p>
          <a:p>
            <a:pPr>
              <a:spcAft>
                <a:spcPts val="1200"/>
              </a:spcAft>
            </a:pPr>
            <a:r>
              <a:rPr lang="en-US" b="1" dirty="0">
                <a:solidFill>
                  <a:prstClr val="black"/>
                </a:solidFill>
                <a:latin typeface="Neo Sans Std" pitchFamily="34" charset="0"/>
                <a:cs typeface="Calibri" pitchFamily="34" charset="0"/>
              </a:rPr>
              <a:t> </a:t>
            </a:r>
            <a:r>
              <a:rPr lang="en-US" b="1" dirty="0" smtClean="0">
                <a:solidFill>
                  <a:prstClr val="black"/>
                </a:solidFill>
                <a:latin typeface="Neo Sans Std" pitchFamily="34" charset="0"/>
                <a:cs typeface="Calibri" pitchFamily="34" charset="0"/>
              </a:rPr>
              <a:t>     Format:</a:t>
            </a:r>
            <a:endParaRPr lang="en-US" b="1" dirty="0">
              <a:solidFill>
                <a:prstClr val="black"/>
              </a:solidFill>
              <a:latin typeface="Neo Sans Std" pitchFamily="34" charset="0"/>
              <a:cs typeface="Calibri" pitchFamily="34" charset="0"/>
            </a:endParaRPr>
          </a:p>
          <a:p>
            <a:pPr>
              <a:spcAft>
                <a:spcPts val="1200"/>
              </a:spcAft>
            </a:pPr>
            <a:endParaRPr lang="en-US" b="1" dirty="0" smtClean="0">
              <a:solidFill>
                <a:prstClr val="black"/>
              </a:solidFill>
              <a:latin typeface="Neo Sans Std" pitchFamily="34" charset="0"/>
              <a:cs typeface="Calibri" pitchFamily="34" charset="0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-1" y="4038600"/>
            <a:ext cx="9094675" cy="33855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sz="2200" b="1" dirty="0" smtClean="0">
                <a:solidFill>
                  <a:srgbClr val="0B538F"/>
                </a:solidFill>
                <a:latin typeface="Neo Sans Std" pitchFamily="34" charset="0"/>
                <a:ea typeface="ＭＳ Ｐゴシック" charset="0"/>
              </a:rPr>
              <a:t>Profit &amp; Loss Account:</a:t>
            </a:r>
            <a:endParaRPr lang="en-US" sz="2200" b="1" dirty="0">
              <a:solidFill>
                <a:srgbClr val="0B538F"/>
              </a:solidFill>
              <a:latin typeface="Neo Sans Std" pitchFamily="34" charset="0"/>
              <a:ea typeface="ＭＳ Ｐゴシック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397292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isInverted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8" name="Object 3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7050989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8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1" name="Straight Connector 10"/>
          <p:cNvCxnSpPr/>
          <p:nvPr/>
        </p:nvCxnSpPr>
        <p:spPr>
          <a:xfrm rot="5400000">
            <a:off x="4581414" y="-2181922"/>
            <a:ext cx="0" cy="6345044"/>
          </a:xfrm>
          <a:prstGeom prst="line">
            <a:avLst/>
          </a:prstGeom>
          <a:ln w="3175">
            <a:solidFill>
              <a:schemeClr val="bg1">
                <a:lumMod val="75000"/>
                <a:alpha val="48000"/>
              </a:schemeClr>
            </a:solidFill>
          </a:ln>
          <a:effectLst>
            <a:outerShdw blurRad="38100" algn="ctr" rotWithShape="0">
              <a:schemeClr val="tx1">
                <a:alpha val="44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3" name="TextBox 12"/>
          <p:cNvSpPr txBox="1"/>
          <p:nvPr/>
        </p:nvSpPr>
        <p:spPr>
          <a:xfrm>
            <a:off x="324531" y="115669"/>
            <a:ext cx="8543925" cy="64633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b="1" dirty="0" smtClean="0">
                <a:solidFill>
                  <a:srgbClr val="0B538F"/>
                </a:solidFill>
                <a:latin typeface="Neo Sans Std Medium" pitchFamily="34" charset="0"/>
                <a:ea typeface="ＭＳ Ｐゴシック" charset="0"/>
              </a:rPr>
              <a:t>Tally ERP.9</a:t>
            </a:r>
          </a:p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sz="2400" b="1" dirty="0" smtClean="0">
                <a:solidFill>
                  <a:srgbClr val="0B538F"/>
                </a:solidFill>
                <a:latin typeface="Neo Sans Std" pitchFamily="34" charset="0"/>
                <a:ea typeface="ＭＳ Ｐゴシック" charset="0"/>
              </a:rPr>
              <a:t>Introduction of Accounting</a:t>
            </a:r>
            <a:endParaRPr lang="en-US" sz="2400" b="1" dirty="0">
              <a:solidFill>
                <a:srgbClr val="0B538F"/>
              </a:solidFill>
              <a:latin typeface="Neo Sans Std" pitchFamily="34" charset="0"/>
              <a:ea typeface="ＭＳ Ｐゴシック" charset="0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-1" y="1479828"/>
            <a:ext cx="9094675" cy="33855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sz="2200" b="1" dirty="0" smtClean="0">
                <a:solidFill>
                  <a:srgbClr val="0B538F"/>
                </a:solidFill>
                <a:latin typeface="Neo Sans Std" pitchFamily="34" charset="0"/>
                <a:ea typeface="ＭＳ Ｐゴシック" charset="0"/>
              </a:rPr>
              <a:t>Balance Sheet:</a:t>
            </a:r>
            <a:endParaRPr lang="en-US" sz="2200" b="1" dirty="0">
              <a:solidFill>
                <a:srgbClr val="0B538F"/>
              </a:solidFill>
              <a:latin typeface="Neo Sans Std" pitchFamily="34" charset="0"/>
              <a:ea typeface="ＭＳ Ｐゴシック" charset="0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0" y="1894582"/>
            <a:ext cx="9094674" cy="1077218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spcAft>
                <a:spcPts val="1200"/>
              </a:spcAft>
            </a:pPr>
            <a:r>
              <a:rPr lang="en-US" b="1" dirty="0" smtClean="0">
                <a:solidFill>
                  <a:prstClr val="black"/>
                </a:solidFill>
                <a:latin typeface="Neo Sans Std" pitchFamily="34" charset="0"/>
                <a:cs typeface="Calibri" pitchFamily="34" charset="0"/>
              </a:rPr>
              <a:t>                         It is a statement of Assets &amp; Liabilities prepared with a view to ascertain the financial position of the business.</a:t>
            </a:r>
          </a:p>
          <a:p>
            <a:pPr>
              <a:spcAft>
                <a:spcPts val="1200"/>
              </a:spcAft>
            </a:pPr>
            <a:r>
              <a:rPr lang="en-US" b="1" dirty="0" smtClean="0">
                <a:solidFill>
                  <a:prstClr val="black"/>
                </a:solidFill>
                <a:latin typeface="Neo Sans Std" pitchFamily="34" charset="0"/>
                <a:cs typeface="Calibri" pitchFamily="34" charset="0"/>
              </a:rPr>
              <a:t>       Format: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4591" y="5117068"/>
            <a:ext cx="9139409" cy="369332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spcAft>
                <a:spcPts val="1200"/>
              </a:spcAft>
            </a:pPr>
            <a:r>
              <a:rPr lang="en-US" b="1" dirty="0" smtClean="0">
                <a:solidFill>
                  <a:prstClr val="black"/>
                </a:solidFill>
                <a:latin typeface="Neo Sans Std" pitchFamily="34" charset="0"/>
                <a:cs typeface="Calibri" pitchFamily="34" charset="0"/>
              </a:rPr>
              <a:t>                       </a:t>
            </a:r>
            <a:r>
              <a:rPr lang="en-US" b="1" dirty="0">
                <a:solidFill>
                  <a:prstClr val="black"/>
                </a:solidFill>
                <a:latin typeface="Neo Sans Std" pitchFamily="34" charset="0"/>
                <a:cs typeface="Calibri" pitchFamily="34" charset="0"/>
              </a:rPr>
              <a:t>Group is a collection of </a:t>
            </a:r>
            <a:r>
              <a:rPr lang="en-US" b="1" dirty="0" smtClean="0">
                <a:solidFill>
                  <a:prstClr val="black"/>
                </a:solidFill>
                <a:latin typeface="Neo Sans Std" pitchFamily="34" charset="0"/>
                <a:cs typeface="Calibri" pitchFamily="34" charset="0"/>
              </a:rPr>
              <a:t>Ledgers of the same nature.</a:t>
            </a:r>
            <a:endParaRPr lang="en-US" b="1" dirty="0">
              <a:solidFill>
                <a:prstClr val="black"/>
              </a:solidFill>
              <a:latin typeface="Neo Sans Std" pitchFamily="34" charset="0"/>
              <a:cs typeface="Calibri" pitchFamily="34" charset="0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-1" y="4799112"/>
            <a:ext cx="9094675" cy="33855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sz="2200" b="1" dirty="0" smtClean="0">
                <a:solidFill>
                  <a:srgbClr val="0B538F"/>
                </a:solidFill>
                <a:latin typeface="Neo Sans Std" pitchFamily="34" charset="0"/>
                <a:ea typeface="ＭＳ Ｐゴシック" charset="0"/>
              </a:rPr>
              <a:t>Group:</a:t>
            </a:r>
            <a:endParaRPr lang="en-US" sz="2200" b="1" dirty="0">
              <a:solidFill>
                <a:srgbClr val="0B538F"/>
              </a:solidFill>
              <a:latin typeface="Neo Sans Std" pitchFamily="34" charset="0"/>
              <a:ea typeface="ＭＳ Ｐゴシック" charset="0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0" y="3700046"/>
            <a:ext cx="9144000" cy="33855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sz="2200" b="1" dirty="0" smtClean="0">
                <a:ln w="1905"/>
                <a:gradFill>
                  <a:gsLst>
                    <a:gs pos="0">
                      <a:schemeClr val="accent6">
                        <a:shade val="20000"/>
                        <a:satMod val="200000"/>
                      </a:schemeClr>
                    </a:gs>
                    <a:gs pos="78000">
                      <a:schemeClr val="accent6">
                        <a:tint val="90000"/>
                        <a:shade val="89000"/>
                        <a:satMod val="220000"/>
                      </a:schemeClr>
                    </a:gs>
                    <a:gs pos="100000">
                      <a:schemeClr val="accent6">
                        <a:tint val="12000"/>
                        <a:satMod val="255000"/>
                      </a:schemeClr>
                    </a:gs>
                  </a:gsLst>
                  <a:lin ang="5400000"/>
                </a:gra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Neo Sans Std" pitchFamily="34" charset="0"/>
                <a:ea typeface="ＭＳ Ｐゴシック" charset="0"/>
              </a:rPr>
              <a:t>Meanings Relating to Tally</a:t>
            </a:r>
          </a:p>
        </p:txBody>
      </p:sp>
    </p:spTree>
    <p:extLst>
      <p:ext uri="{BB962C8B-B14F-4D97-AF65-F5344CB8AC3E}">
        <p14:creationId xmlns:p14="http://schemas.microsoft.com/office/powerpoint/2010/main" val="34962342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isInverted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8" name="Object 3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8274057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70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1" name="Straight Connector 10"/>
          <p:cNvCxnSpPr/>
          <p:nvPr/>
        </p:nvCxnSpPr>
        <p:spPr>
          <a:xfrm rot="5400000">
            <a:off x="4581414" y="-2181922"/>
            <a:ext cx="0" cy="6345044"/>
          </a:xfrm>
          <a:prstGeom prst="line">
            <a:avLst/>
          </a:prstGeom>
          <a:ln w="3175">
            <a:solidFill>
              <a:schemeClr val="bg1">
                <a:lumMod val="75000"/>
                <a:alpha val="48000"/>
              </a:schemeClr>
            </a:solidFill>
          </a:ln>
          <a:effectLst>
            <a:outerShdw blurRad="38100" algn="ctr" rotWithShape="0">
              <a:schemeClr val="tx1">
                <a:alpha val="44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3" name="TextBox 12"/>
          <p:cNvSpPr txBox="1"/>
          <p:nvPr/>
        </p:nvSpPr>
        <p:spPr>
          <a:xfrm>
            <a:off x="324531" y="115669"/>
            <a:ext cx="8543925" cy="64633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b="1" dirty="0" smtClean="0">
                <a:solidFill>
                  <a:srgbClr val="0B538F"/>
                </a:solidFill>
                <a:latin typeface="Neo Sans Std Medium" pitchFamily="34" charset="0"/>
                <a:ea typeface="ＭＳ Ｐゴシック" charset="0"/>
              </a:rPr>
              <a:t>Tally ERP.9</a:t>
            </a:r>
          </a:p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sz="2400" b="1" dirty="0" smtClean="0">
                <a:solidFill>
                  <a:srgbClr val="0B538F"/>
                </a:solidFill>
                <a:latin typeface="Neo Sans Std" pitchFamily="34" charset="0"/>
                <a:ea typeface="ＭＳ Ｐゴシック" charset="0"/>
              </a:rPr>
              <a:t>Introduction of Accounting</a:t>
            </a:r>
            <a:endParaRPr lang="en-US" sz="2400" b="1" dirty="0">
              <a:solidFill>
                <a:srgbClr val="0B538F"/>
              </a:solidFill>
              <a:latin typeface="Neo Sans Std" pitchFamily="34" charset="0"/>
              <a:ea typeface="ＭＳ Ｐゴシック" charset="0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-1" y="1227654"/>
            <a:ext cx="9094675" cy="33855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sz="2200" b="1" dirty="0" smtClean="0">
                <a:solidFill>
                  <a:srgbClr val="0B538F"/>
                </a:solidFill>
                <a:latin typeface="Neo Sans Std" pitchFamily="34" charset="0"/>
                <a:ea typeface="ＭＳ Ｐゴシック" charset="0"/>
              </a:rPr>
              <a:t>Ledger:</a:t>
            </a:r>
            <a:endParaRPr lang="en-US" sz="2200" b="1" dirty="0">
              <a:solidFill>
                <a:srgbClr val="0B538F"/>
              </a:solidFill>
              <a:latin typeface="Neo Sans Std" pitchFamily="34" charset="0"/>
              <a:ea typeface="ＭＳ Ｐゴシック" charset="0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0" y="1642408"/>
            <a:ext cx="9094674" cy="92333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spcAft>
                <a:spcPts val="1200"/>
              </a:spcAft>
            </a:pPr>
            <a:r>
              <a:rPr lang="en-US" b="1" dirty="0" smtClean="0">
                <a:solidFill>
                  <a:prstClr val="black"/>
                </a:solidFill>
                <a:latin typeface="Neo Sans Std" pitchFamily="34" charset="0"/>
                <a:cs typeface="Calibri" pitchFamily="34" charset="0"/>
              </a:rPr>
              <a:t>                         Ledger is a actual account head to which you identify a transaction &amp; must be used in all vouchers without ledger we cannot record any transaction in Tally.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0" y="3418582"/>
            <a:ext cx="9139409" cy="2800767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spcAft>
                <a:spcPts val="1200"/>
              </a:spcAft>
            </a:pPr>
            <a:r>
              <a:rPr lang="en-US" b="1" dirty="0" smtClean="0">
                <a:solidFill>
                  <a:prstClr val="black"/>
                </a:solidFill>
                <a:latin typeface="Neo Sans Std" pitchFamily="34" charset="0"/>
                <a:cs typeface="Calibri" pitchFamily="34" charset="0"/>
              </a:rPr>
              <a:t>                          A Voucher is a primary document that contains the details of transactions.</a:t>
            </a:r>
          </a:p>
          <a:p>
            <a:pPr>
              <a:spcAft>
                <a:spcPts val="1200"/>
              </a:spcAft>
            </a:pPr>
            <a:r>
              <a:rPr lang="en-US" b="1" dirty="0">
                <a:solidFill>
                  <a:prstClr val="black"/>
                </a:solidFill>
                <a:latin typeface="Neo Sans Std" pitchFamily="34" charset="0"/>
                <a:cs typeface="Calibri" pitchFamily="34" charset="0"/>
              </a:rPr>
              <a:t> </a:t>
            </a:r>
            <a:r>
              <a:rPr lang="en-US" b="1" dirty="0" smtClean="0">
                <a:solidFill>
                  <a:prstClr val="black"/>
                </a:solidFill>
                <a:latin typeface="Neo Sans Std" pitchFamily="34" charset="0"/>
                <a:cs typeface="Calibri" pitchFamily="34" charset="0"/>
              </a:rPr>
              <a:t>          </a:t>
            </a:r>
            <a:r>
              <a:rPr lang="en-US" b="1" u="sng" dirty="0" smtClean="0">
                <a:solidFill>
                  <a:prstClr val="black"/>
                </a:solidFill>
                <a:latin typeface="Neo Sans Std" pitchFamily="34" charset="0"/>
                <a:cs typeface="Calibri" pitchFamily="34" charset="0"/>
              </a:rPr>
              <a:t>Types of Voucher</a:t>
            </a:r>
            <a:r>
              <a:rPr lang="en-US" b="1" dirty="0" smtClean="0">
                <a:solidFill>
                  <a:prstClr val="black"/>
                </a:solidFill>
                <a:latin typeface="Neo Sans Std" pitchFamily="34" charset="0"/>
                <a:cs typeface="Calibri" pitchFamily="34" charset="0"/>
              </a:rPr>
              <a:t>:</a:t>
            </a:r>
          </a:p>
          <a:p>
            <a:pPr marL="342900" indent="-342900">
              <a:spcAft>
                <a:spcPts val="1200"/>
              </a:spcAft>
              <a:buAutoNum type="arabicPeriod"/>
            </a:pPr>
            <a:r>
              <a:rPr lang="en-US" b="1" dirty="0" smtClean="0">
                <a:solidFill>
                  <a:prstClr val="black"/>
                </a:solidFill>
                <a:latin typeface="Neo Sans Std" pitchFamily="34" charset="0"/>
                <a:cs typeface="Calibri" pitchFamily="34" charset="0"/>
              </a:rPr>
              <a:t>Accounting Voucher.</a:t>
            </a:r>
          </a:p>
          <a:p>
            <a:pPr marL="342900" indent="-342900">
              <a:spcAft>
                <a:spcPts val="1200"/>
              </a:spcAft>
              <a:buAutoNum type="arabicPeriod"/>
            </a:pPr>
            <a:r>
              <a:rPr lang="en-US" b="1" dirty="0" smtClean="0">
                <a:solidFill>
                  <a:prstClr val="black"/>
                </a:solidFill>
                <a:latin typeface="Neo Sans Std" pitchFamily="34" charset="0"/>
                <a:cs typeface="Calibri" pitchFamily="34" charset="0"/>
              </a:rPr>
              <a:t>Inventory Voucher.</a:t>
            </a:r>
          </a:p>
          <a:p>
            <a:pPr marL="342900" indent="-342900">
              <a:spcAft>
                <a:spcPts val="1200"/>
              </a:spcAft>
              <a:buAutoNum type="arabicPeriod"/>
            </a:pPr>
            <a:r>
              <a:rPr lang="en-US" b="1" dirty="0" smtClean="0">
                <a:solidFill>
                  <a:prstClr val="black"/>
                </a:solidFill>
                <a:latin typeface="Neo Sans Std" pitchFamily="34" charset="0"/>
                <a:cs typeface="Calibri" pitchFamily="34" charset="0"/>
              </a:rPr>
              <a:t>Payroll Voucher.</a:t>
            </a:r>
            <a:endParaRPr lang="en-US" b="1" dirty="0">
              <a:solidFill>
                <a:prstClr val="black"/>
              </a:solidFill>
              <a:latin typeface="Neo Sans Std" pitchFamily="34" charset="0"/>
              <a:cs typeface="Calibri" pitchFamily="34" charset="0"/>
            </a:endParaRPr>
          </a:p>
          <a:p>
            <a:pPr>
              <a:spcAft>
                <a:spcPts val="1200"/>
              </a:spcAft>
            </a:pPr>
            <a:endParaRPr lang="en-US" b="1" dirty="0" smtClean="0">
              <a:solidFill>
                <a:prstClr val="black"/>
              </a:solidFill>
              <a:latin typeface="Neo Sans Std" pitchFamily="34" charset="0"/>
              <a:cs typeface="Calibri" pitchFamily="34" charset="0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-1" y="3124200"/>
            <a:ext cx="9094675" cy="33855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sz="2200" b="1" dirty="0" smtClean="0">
                <a:solidFill>
                  <a:srgbClr val="0B538F"/>
                </a:solidFill>
                <a:latin typeface="Neo Sans Std" pitchFamily="34" charset="0"/>
                <a:ea typeface="ＭＳ Ｐゴシック" charset="0"/>
              </a:rPr>
              <a:t>Voucher:</a:t>
            </a:r>
            <a:endParaRPr lang="en-US" sz="2200" b="1" dirty="0">
              <a:solidFill>
                <a:srgbClr val="0B538F"/>
              </a:solidFill>
              <a:latin typeface="Neo Sans Std" pitchFamily="34" charset="0"/>
              <a:ea typeface="ＭＳ Ｐゴシック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98750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isInverted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8" name="Object 3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6154299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2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1" name="Straight Connector 10"/>
          <p:cNvCxnSpPr/>
          <p:nvPr/>
        </p:nvCxnSpPr>
        <p:spPr>
          <a:xfrm rot="5400000">
            <a:off x="4581414" y="-2181922"/>
            <a:ext cx="0" cy="6345044"/>
          </a:xfrm>
          <a:prstGeom prst="line">
            <a:avLst/>
          </a:prstGeom>
          <a:ln w="3175">
            <a:solidFill>
              <a:schemeClr val="bg1">
                <a:lumMod val="75000"/>
                <a:alpha val="48000"/>
              </a:schemeClr>
            </a:solidFill>
          </a:ln>
          <a:effectLst>
            <a:outerShdw blurRad="38100" algn="ctr" rotWithShape="0">
              <a:schemeClr val="tx1">
                <a:alpha val="44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0" name="TextBox 39"/>
          <p:cNvSpPr txBox="1"/>
          <p:nvPr/>
        </p:nvSpPr>
        <p:spPr>
          <a:xfrm>
            <a:off x="0" y="1447800"/>
            <a:ext cx="9076646" cy="646331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spcAft>
                <a:spcPts val="1200"/>
              </a:spcAft>
            </a:pPr>
            <a:r>
              <a:rPr lang="en-US" b="1" dirty="0" smtClean="0">
                <a:solidFill>
                  <a:prstClr val="black"/>
                </a:solidFill>
                <a:latin typeface="Neo Sans Std" pitchFamily="34" charset="0"/>
                <a:cs typeface="Calibri" pitchFamily="34" charset="0"/>
              </a:rPr>
              <a:t>                                   Tally is the world’s fastest &amp; more powerful Multi-lingual business accounting &amp; inventory management application software. 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324531" y="115669"/>
            <a:ext cx="8543925" cy="64633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b="1" dirty="0" smtClean="0">
                <a:solidFill>
                  <a:srgbClr val="0B538F"/>
                </a:solidFill>
                <a:latin typeface="Neo Sans Std Medium" pitchFamily="34" charset="0"/>
                <a:ea typeface="ＭＳ Ｐゴシック" charset="0"/>
              </a:rPr>
              <a:t>Tally ERP.9</a:t>
            </a:r>
          </a:p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sz="2400" b="1" dirty="0" smtClean="0">
                <a:solidFill>
                  <a:srgbClr val="0B538F"/>
                </a:solidFill>
                <a:latin typeface="Neo Sans Std" pitchFamily="34" charset="0"/>
                <a:ea typeface="ＭＳ Ｐゴシック" charset="0"/>
              </a:rPr>
              <a:t>Introduction of Tally</a:t>
            </a:r>
            <a:endParaRPr lang="en-US" sz="2400" b="1" dirty="0">
              <a:solidFill>
                <a:srgbClr val="0B538F"/>
              </a:solidFill>
              <a:latin typeface="Neo Sans Std" pitchFamily="34" charset="0"/>
              <a:ea typeface="ＭＳ Ｐゴシック" charset="0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0" y="2480846"/>
            <a:ext cx="9144000" cy="33855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sz="2200" b="1" dirty="0" smtClean="0">
                <a:solidFill>
                  <a:srgbClr val="0B538F"/>
                </a:solidFill>
                <a:latin typeface="Neo Sans Std" pitchFamily="34" charset="0"/>
                <a:ea typeface="ＭＳ Ｐゴシック" charset="0"/>
              </a:rPr>
              <a:t>Simple meaning of Tally:</a:t>
            </a:r>
            <a:endParaRPr lang="en-US" sz="2200" b="1" dirty="0">
              <a:solidFill>
                <a:srgbClr val="0B538F"/>
              </a:solidFill>
              <a:latin typeface="Neo Sans Std" pitchFamily="34" charset="0"/>
              <a:ea typeface="ＭＳ Ｐゴシック" charset="0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0" y="3011269"/>
            <a:ext cx="9076645" cy="646331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spcAft>
                <a:spcPts val="1200"/>
              </a:spcAft>
            </a:pPr>
            <a:r>
              <a:rPr lang="en-US" b="1" dirty="0" smtClean="0">
                <a:solidFill>
                  <a:prstClr val="black"/>
                </a:solidFill>
                <a:latin typeface="Neo Sans Std" pitchFamily="34" charset="0"/>
                <a:cs typeface="Calibri" pitchFamily="34" charset="0"/>
              </a:rPr>
              <a:t>                          It is an accounting package which is used to maintain day-to-day transactions &amp; used to know the financial position of the business.</a:t>
            </a:r>
            <a:endParaRPr lang="en-US" b="1" dirty="0">
              <a:solidFill>
                <a:prstClr val="black"/>
              </a:solidFill>
              <a:latin typeface="Neo Sans Std" pitchFamily="34" charset="0"/>
              <a:cs typeface="Calibri" pitchFamily="34" charset="0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0" y="3810000"/>
            <a:ext cx="9144000" cy="92333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spcAft>
                <a:spcPts val="1200"/>
              </a:spcAft>
            </a:pPr>
            <a:r>
              <a:rPr lang="en-US" b="1" dirty="0" smtClean="0">
                <a:solidFill>
                  <a:prstClr val="black"/>
                </a:solidFill>
                <a:latin typeface="Neo Sans Std" pitchFamily="34" charset="0"/>
                <a:cs typeface="Calibri" pitchFamily="34" charset="0"/>
              </a:rPr>
              <a:t>                          Tally is an accounting software which automates &amp; integrates all your business operations like Manufacturing, Purchases, Sales, Finance, Inventory.</a:t>
            </a:r>
            <a:endParaRPr lang="en-US" b="1" dirty="0">
              <a:solidFill>
                <a:prstClr val="black"/>
              </a:solidFill>
              <a:latin typeface="Neo Sans Std" pitchFamily="34" charset="0"/>
              <a:cs typeface="Calibri" pitchFamily="34" charset="0"/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0" y="4953000"/>
            <a:ext cx="9144000" cy="646331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spcAft>
                <a:spcPts val="1200"/>
              </a:spcAft>
            </a:pPr>
            <a:r>
              <a:rPr lang="en-US" b="1" dirty="0">
                <a:solidFill>
                  <a:prstClr val="black"/>
                </a:solidFill>
                <a:latin typeface="Neo Sans Std" pitchFamily="34" charset="0"/>
                <a:cs typeface="Calibri" pitchFamily="34" charset="0"/>
              </a:rPr>
              <a:t>                          Tally was introduced in the </a:t>
            </a:r>
            <a:r>
              <a:rPr lang="en-US" b="1">
                <a:solidFill>
                  <a:prstClr val="black"/>
                </a:solidFill>
                <a:latin typeface="Neo Sans Std" pitchFamily="34" charset="0"/>
                <a:cs typeface="Calibri" pitchFamily="34" charset="0"/>
              </a:rPr>
              <a:t>year </a:t>
            </a:r>
            <a:r>
              <a:rPr lang="en-US" b="1" smtClean="0">
                <a:solidFill>
                  <a:prstClr val="black"/>
                </a:solidFill>
                <a:latin typeface="Neo Sans Std" pitchFamily="34" charset="0"/>
                <a:cs typeface="Calibri" pitchFamily="34" charset="0"/>
              </a:rPr>
              <a:t>1986 </a:t>
            </a:r>
            <a:r>
              <a:rPr lang="en-US" b="1" dirty="0">
                <a:solidFill>
                  <a:prstClr val="black"/>
                </a:solidFill>
                <a:latin typeface="Neo Sans Std" pitchFamily="34" charset="0"/>
                <a:cs typeface="Calibri" pitchFamily="34" charset="0"/>
              </a:rPr>
              <a:t>by the Bharat </a:t>
            </a:r>
            <a:r>
              <a:rPr lang="en-US" b="1" smtClean="0">
                <a:solidFill>
                  <a:prstClr val="black"/>
                </a:solidFill>
                <a:latin typeface="Neo Sans Std" pitchFamily="34" charset="0"/>
                <a:cs typeface="Calibri" pitchFamily="34" charset="0"/>
              </a:rPr>
              <a:t>Goenka, </a:t>
            </a:r>
            <a:r>
              <a:rPr lang="en-US" b="1" dirty="0">
                <a:solidFill>
                  <a:prstClr val="black"/>
                </a:solidFill>
                <a:latin typeface="Neo Sans Std" pitchFamily="34" charset="0"/>
                <a:cs typeface="Calibri" pitchFamily="34" charset="0"/>
              </a:rPr>
              <a:t>Later it was developed by Tally Solutions which is located in Bangalore. </a:t>
            </a:r>
            <a:endParaRPr lang="en-US" b="1" dirty="0" smtClean="0">
              <a:solidFill>
                <a:prstClr val="black"/>
              </a:solidFill>
              <a:latin typeface="Neo Sans Std" pitchFamily="34" charset="0"/>
              <a:cs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234640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isInverted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8" name="Object 3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9526079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1" name="Straight Connector 10"/>
          <p:cNvCxnSpPr/>
          <p:nvPr/>
        </p:nvCxnSpPr>
        <p:spPr>
          <a:xfrm rot="5400000">
            <a:off x="4581414" y="-2181922"/>
            <a:ext cx="0" cy="6345044"/>
          </a:xfrm>
          <a:prstGeom prst="line">
            <a:avLst/>
          </a:prstGeom>
          <a:ln w="3175">
            <a:solidFill>
              <a:schemeClr val="bg1">
                <a:lumMod val="75000"/>
                <a:alpha val="48000"/>
              </a:schemeClr>
            </a:solidFill>
          </a:ln>
          <a:effectLst>
            <a:outerShdw blurRad="38100" algn="ctr" rotWithShape="0">
              <a:schemeClr val="tx1">
                <a:alpha val="44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3" name="TextBox 12"/>
          <p:cNvSpPr txBox="1"/>
          <p:nvPr/>
        </p:nvSpPr>
        <p:spPr>
          <a:xfrm>
            <a:off x="324531" y="115669"/>
            <a:ext cx="8543925" cy="64633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b="1" dirty="0" smtClean="0">
                <a:solidFill>
                  <a:srgbClr val="0B538F"/>
                </a:solidFill>
                <a:latin typeface="Neo Sans Std Medium" pitchFamily="34" charset="0"/>
                <a:ea typeface="ＭＳ Ｐゴシック" charset="0"/>
              </a:rPr>
              <a:t>Tally ERP.9</a:t>
            </a:r>
          </a:p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sz="2400" b="1" dirty="0" smtClean="0">
                <a:solidFill>
                  <a:srgbClr val="0B538F"/>
                </a:solidFill>
                <a:latin typeface="Neo Sans Std" pitchFamily="34" charset="0"/>
                <a:ea typeface="ＭＳ Ｐゴシック" charset="0"/>
              </a:rPr>
              <a:t>Introduction of Tally</a:t>
            </a:r>
            <a:endParaRPr lang="en-US" sz="2400" b="1" dirty="0">
              <a:solidFill>
                <a:srgbClr val="0B538F"/>
              </a:solidFill>
              <a:latin typeface="Neo Sans Std" pitchFamily="34" charset="0"/>
              <a:ea typeface="ＭＳ Ｐゴシック" charset="0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0" y="1718846"/>
            <a:ext cx="9144000" cy="33855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sz="2200" b="1" dirty="0" smtClean="0">
                <a:solidFill>
                  <a:srgbClr val="0B538F"/>
                </a:solidFill>
                <a:latin typeface="Neo Sans Std" pitchFamily="34" charset="0"/>
                <a:ea typeface="ＭＳ Ｐゴシック" charset="0"/>
              </a:rPr>
              <a:t>Features of Tally:</a:t>
            </a:r>
            <a:endParaRPr lang="en-US" sz="2200" b="1" dirty="0">
              <a:solidFill>
                <a:srgbClr val="0B538F"/>
              </a:solidFill>
              <a:latin typeface="Neo Sans Std" pitchFamily="34" charset="0"/>
              <a:ea typeface="ＭＳ Ｐゴシック" charset="0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324531" y="2531745"/>
            <a:ext cx="8599715" cy="2092881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marL="285750" indent="-285750">
              <a:spcAft>
                <a:spcPts val="1200"/>
              </a:spcAft>
              <a:buBlip>
                <a:blip r:embed="rId6"/>
              </a:buBlip>
            </a:pPr>
            <a:r>
              <a:rPr lang="en-US" b="1" dirty="0" smtClean="0">
                <a:solidFill>
                  <a:prstClr val="black"/>
                </a:solidFill>
                <a:latin typeface="Neo Sans Std" pitchFamily="34" charset="0"/>
                <a:cs typeface="Calibri" pitchFamily="34" charset="0"/>
              </a:rPr>
              <a:t>Multi-lingual.</a:t>
            </a:r>
          </a:p>
          <a:p>
            <a:pPr marL="285750" indent="-285750">
              <a:spcAft>
                <a:spcPts val="1200"/>
              </a:spcAft>
              <a:buBlip>
                <a:blip r:embed="rId6"/>
              </a:buBlip>
            </a:pPr>
            <a:r>
              <a:rPr lang="en-US" b="1" dirty="0" smtClean="0">
                <a:solidFill>
                  <a:prstClr val="black"/>
                </a:solidFill>
                <a:latin typeface="Neo Sans Std" pitchFamily="34" charset="0"/>
                <a:cs typeface="Calibri" pitchFamily="34" charset="0"/>
              </a:rPr>
              <a:t>Flexible.</a:t>
            </a:r>
          </a:p>
          <a:p>
            <a:pPr marL="285750" indent="-285750">
              <a:spcAft>
                <a:spcPts val="1200"/>
              </a:spcAft>
              <a:buBlip>
                <a:blip r:embed="rId6"/>
              </a:buBlip>
            </a:pPr>
            <a:r>
              <a:rPr lang="en-US" b="1" dirty="0" smtClean="0">
                <a:solidFill>
                  <a:prstClr val="black"/>
                </a:solidFill>
                <a:latin typeface="Neo Sans Std" pitchFamily="34" charset="0"/>
                <a:cs typeface="Calibri" pitchFamily="34" charset="0"/>
              </a:rPr>
              <a:t>Remote access.</a:t>
            </a:r>
          </a:p>
          <a:p>
            <a:pPr marL="285750" indent="-285750">
              <a:spcAft>
                <a:spcPts val="1200"/>
              </a:spcAft>
              <a:buBlip>
                <a:blip r:embed="rId6"/>
              </a:buBlip>
            </a:pPr>
            <a:r>
              <a:rPr lang="en-US" b="1" dirty="0" err="1" smtClean="0">
                <a:solidFill>
                  <a:prstClr val="black"/>
                </a:solidFill>
                <a:latin typeface="Neo Sans Std" pitchFamily="34" charset="0"/>
                <a:cs typeface="Calibri" pitchFamily="34" charset="0"/>
              </a:rPr>
              <a:t>Tally.Net</a:t>
            </a:r>
            <a:r>
              <a:rPr lang="en-US" b="1" dirty="0">
                <a:solidFill>
                  <a:prstClr val="black"/>
                </a:solidFill>
                <a:latin typeface="Neo Sans Std" pitchFamily="34" charset="0"/>
                <a:cs typeface="Calibri" pitchFamily="34" charset="0"/>
              </a:rPr>
              <a:t> </a:t>
            </a:r>
            <a:r>
              <a:rPr lang="en-US" b="1" dirty="0" smtClean="0">
                <a:solidFill>
                  <a:prstClr val="black"/>
                </a:solidFill>
                <a:latin typeface="Neo Sans Std" pitchFamily="34" charset="0"/>
                <a:cs typeface="Calibri" pitchFamily="34" charset="0"/>
              </a:rPr>
              <a:t>(Online Transaction)</a:t>
            </a:r>
          </a:p>
          <a:p>
            <a:pPr marL="285750" indent="-285750">
              <a:spcAft>
                <a:spcPts val="1200"/>
              </a:spcAft>
              <a:buBlip>
                <a:blip r:embed="rId6"/>
              </a:buBlip>
            </a:pPr>
            <a:r>
              <a:rPr lang="en-US" b="1" dirty="0" smtClean="0">
                <a:solidFill>
                  <a:prstClr val="black"/>
                </a:solidFill>
                <a:latin typeface="Neo Sans Std" pitchFamily="34" charset="0"/>
                <a:cs typeface="Calibri" pitchFamily="34" charset="0"/>
              </a:rPr>
              <a:t>Easy to Buy, Quick to Install &amp; Easy to Learn &amp; to Use.</a:t>
            </a:r>
          </a:p>
        </p:txBody>
      </p:sp>
    </p:spTree>
    <p:extLst>
      <p:ext uri="{BB962C8B-B14F-4D97-AF65-F5344CB8AC3E}">
        <p14:creationId xmlns:p14="http://schemas.microsoft.com/office/powerpoint/2010/main" val="2877865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isInverted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8" name="Object 3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869511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6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1" name="Straight Connector 10"/>
          <p:cNvCxnSpPr/>
          <p:nvPr/>
        </p:nvCxnSpPr>
        <p:spPr>
          <a:xfrm rot="5400000">
            <a:off x="4581414" y="-2181922"/>
            <a:ext cx="0" cy="6345044"/>
          </a:xfrm>
          <a:prstGeom prst="line">
            <a:avLst/>
          </a:prstGeom>
          <a:ln w="3175">
            <a:solidFill>
              <a:schemeClr val="bg1">
                <a:lumMod val="75000"/>
                <a:alpha val="48000"/>
              </a:schemeClr>
            </a:solidFill>
          </a:ln>
          <a:effectLst>
            <a:outerShdw blurRad="38100" algn="ctr" rotWithShape="0">
              <a:schemeClr val="tx1">
                <a:alpha val="44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3" name="TextBox 12"/>
          <p:cNvSpPr txBox="1"/>
          <p:nvPr/>
        </p:nvSpPr>
        <p:spPr>
          <a:xfrm>
            <a:off x="324531" y="115669"/>
            <a:ext cx="8543925" cy="64633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b="1" dirty="0" smtClean="0">
                <a:solidFill>
                  <a:srgbClr val="0B538F"/>
                </a:solidFill>
                <a:latin typeface="Neo Sans Std Medium" pitchFamily="34" charset="0"/>
                <a:ea typeface="ＭＳ Ｐゴシック" charset="0"/>
              </a:rPr>
              <a:t>Tally ERP.9</a:t>
            </a:r>
          </a:p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sz="2400" b="1" dirty="0" smtClean="0">
                <a:solidFill>
                  <a:srgbClr val="0B538F"/>
                </a:solidFill>
                <a:latin typeface="Neo Sans Std" pitchFamily="34" charset="0"/>
                <a:ea typeface="ＭＳ Ｐゴシック" charset="0"/>
              </a:rPr>
              <a:t>Introduction of Tally</a:t>
            </a:r>
            <a:endParaRPr lang="en-US" sz="2400" b="1" dirty="0">
              <a:solidFill>
                <a:srgbClr val="0B538F"/>
              </a:solidFill>
              <a:latin typeface="Neo Sans Std" pitchFamily="34" charset="0"/>
              <a:ea typeface="ＭＳ Ｐゴシック" charset="0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0" y="1718846"/>
            <a:ext cx="9144000" cy="33855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sz="2200" b="1" dirty="0" smtClean="0">
                <a:solidFill>
                  <a:srgbClr val="0B538F"/>
                </a:solidFill>
                <a:latin typeface="Neo Sans Std" pitchFamily="34" charset="0"/>
                <a:ea typeface="ＭＳ Ｐゴシック" charset="0"/>
              </a:rPr>
              <a:t>Tally Versions:</a:t>
            </a:r>
            <a:endParaRPr lang="en-US" sz="2200" b="1" dirty="0">
              <a:solidFill>
                <a:srgbClr val="0B538F"/>
              </a:solidFill>
              <a:latin typeface="Neo Sans Std" pitchFamily="34" charset="0"/>
              <a:ea typeface="ＭＳ Ｐゴシック" charset="0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1001485" y="2531745"/>
            <a:ext cx="8599715" cy="295465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marL="285750" indent="-285750">
              <a:spcAft>
                <a:spcPts val="1200"/>
              </a:spcAft>
              <a:buBlip>
                <a:blip r:embed="rId6"/>
              </a:buBlip>
            </a:pPr>
            <a:r>
              <a:rPr lang="en-US" b="1" dirty="0" smtClean="0">
                <a:solidFill>
                  <a:prstClr val="black"/>
                </a:solidFill>
                <a:latin typeface="Neo Sans Std" pitchFamily="34" charset="0"/>
                <a:cs typeface="Calibri" pitchFamily="34" charset="0"/>
              </a:rPr>
              <a:t>Tally 4.5</a:t>
            </a:r>
          </a:p>
          <a:p>
            <a:pPr marL="285750" indent="-285750">
              <a:spcAft>
                <a:spcPts val="1200"/>
              </a:spcAft>
              <a:buBlip>
                <a:blip r:embed="rId6"/>
              </a:buBlip>
            </a:pPr>
            <a:r>
              <a:rPr lang="en-US" b="1" dirty="0" smtClean="0">
                <a:solidFill>
                  <a:prstClr val="black"/>
                </a:solidFill>
                <a:latin typeface="Neo Sans Std" pitchFamily="34" charset="0"/>
                <a:cs typeface="Calibri" pitchFamily="34" charset="0"/>
              </a:rPr>
              <a:t>Tally 5.4</a:t>
            </a:r>
          </a:p>
          <a:p>
            <a:pPr marL="285750" indent="-285750">
              <a:spcAft>
                <a:spcPts val="1200"/>
              </a:spcAft>
              <a:buBlip>
                <a:blip r:embed="rId6"/>
              </a:buBlip>
            </a:pPr>
            <a:r>
              <a:rPr lang="en-US" b="1" dirty="0" smtClean="0">
                <a:solidFill>
                  <a:prstClr val="black"/>
                </a:solidFill>
                <a:latin typeface="Neo Sans Std" pitchFamily="34" charset="0"/>
                <a:cs typeface="Calibri" pitchFamily="34" charset="0"/>
              </a:rPr>
              <a:t>Tally 6.3</a:t>
            </a:r>
          </a:p>
          <a:p>
            <a:pPr marL="285750" indent="-285750">
              <a:spcAft>
                <a:spcPts val="1200"/>
              </a:spcAft>
              <a:buBlip>
                <a:blip r:embed="rId6"/>
              </a:buBlip>
            </a:pPr>
            <a:r>
              <a:rPr lang="en-US" b="1" dirty="0" smtClean="0">
                <a:solidFill>
                  <a:prstClr val="black"/>
                </a:solidFill>
                <a:latin typeface="Neo Sans Std" pitchFamily="34" charset="0"/>
                <a:cs typeface="Calibri" pitchFamily="34" charset="0"/>
              </a:rPr>
              <a:t>Tally 7.2</a:t>
            </a:r>
          </a:p>
          <a:p>
            <a:pPr marL="285750" indent="-285750">
              <a:spcAft>
                <a:spcPts val="1200"/>
              </a:spcAft>
              <a:buBlip>
                <a:blip r:embed="rId6"/>
              </a:buBlip>
            </a:pPr>
            <a:r>
              <a:rPr lang="en-US" b="1" dirty="0" smtClean="0">
                <a:solidFill>
                  <a:prstClr val="black"/>
                </a:solidFill>
                <a:latin typeface="Neo Sans Std" pitchFamily="34" charset="0"/>
                <a:cs typeface="Calibri" pitchFamily="34" charset="0"/>
              </a:rPr>
              <a:t>Tally 8.1</a:t>
            </a:r>
          </a:p>
          <a:p>
            <a:pPr marL="285750" indent="-285750">
              <a:spcAft>
                <a:spcPts val="1200"/>
              </a:spcAft>
              <a:buBlip>
                <a:blip r:embed="rId6"/>
              </a:buBlip>
            </a:pPr>
            <a:r>
              <a:rPr lang="en-US" b="1" dirty="0" smtClean="0">
                <a:solidFill>
                  <a:prstClr val="black"/>
                </a:solidFill>
                <a:latin typeface="Neo Sans Std" pitchFamily="34" charset="0"/>
                <a:cs typeface="Calibri" pitchFamily="34" charset="0"/>
              </a:rPr>
              <a:t>Tally 9</a:t>
            </a:r>
          </a:p>
          <a:p>
            <a:pPr marL="285750" indent="-285750">
              <a:spcAft>
                <a:spcPts val="1200"/>
              </a:spcAft>
              <a:buBlip>
                <a:blip r:embed="rId6"/>
              </a:buBlip>
            </a:pPr>
            <a:r>
              <a:rPr lang="en-US" b="1" dirty="0" smtClean="0">
                <a:solidFill>
                  <a:prstClr val="black"/>
                </a:solidFill>
                <a:latin typeface="Neo Sans Std" pitchFamily="34" charset="0"/>
                <a:cs typeface="Calibri" pitchFamily="34" charset="0"/>
              </a:rPr>
              <a:t>Tally ERP.9</a:t>
            </a:r>
          </a:p>
        </p:txBody>
      </p:sp>
    </p:spTree>
    <p:extLst>
      <p:ext uri="{BB962C8B-B14F-4D97-AF65-F5344CB8AC3E}">
        <p14:creationId xmlns:p14="http://schemas.microsoft.com/office/powerpoint/2010/main" val="33398221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isInverted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8" name="Object 3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869511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79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1" name="Straight Connector 10"/>
          <p:cNvCxnSpPr/>
          <p:nvPr/>
        </p:nvCxnSpPr>
        <p:spPr>
          <a:xfrm rot="5400000">
            <a:off x="4581414" y="-2181922"/>
            <a:ext cx="0" cy="6345044"/>
          </a:xfrm>
          <a:prstGeom prst="line">
            <a:avLst/>
          </a:prstGeom>
          <a:ln w="3175">
            <a:solidFill>
              <a:schemeClr val="bg1">
                <a:lumMod val="75000"/>
                <a:alpha val="48000"/>
              </a:schemeClr>
            </a:solidFill>
          </a:ln>
          <a:effectLst>
            <a:outerShdw blurRad="38100" algn="ctr" rotWithShape="0">
              <a:schemeClr val="tx1">
                <a:alpha val="44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3" name="TextBox 12"/>
          <p:cNvSpPr txBox="1"/>
          <p:nvPr/>
        </p:nvSpPr>
        <p:spPr>
          <a:xfrm>
            <a:off x="324531" y="115669"/>
            <a:ext cx="8543925" cy="64633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b="1" dirty="0" smtClean="0">
                <a:solidFill>
                  <a:srgbClr val="0B538F"/>
                </a:solidFill>
                <a:latin typeface="Neo Sans Std Medium" pitchFamily="34" charset="0"/>
                <a:ea typeface="ＭＳ Ｐゴシック" charset="0"/>
              </a:rPr>
              <a:t>Tally ERP.9</a:t>
            </a:r>
          </a:p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sz="2400" b="1" dirty="0" smtClean="0">
                <a:solidFill>
                  <a:srgbClr val="0B538F"/>
                </a:solidFill>
                <a:latin typeface="Neo Sans Std" pitchFamily="34" charset="0"/>
                <a:ea typeface="ＭＳ Ｐゴシック" charset="0"/>
              </a:rPr>
              <a:t>Introduction of Tally</a:t>
            </a:r>
            <a:endParaRPr lang="en-US" sz="2400" b="1" dirty="0">
              <a:solidFill>
                <a:srgbClr val="0B538F"/>
              </a:solidFill>
              <a:latin typeface="Neo Sans Std" pitchFamily="34" charset="0"/>
              <a:ea typeface="ＭＳ Ｐゴシック" charset="0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0" y="1718846"/>
            <a:ext cx="9144000" cy="33855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sz="2200" b="1" dirty="0" smtClean="0">
                <a:solidFill>
                  <a:srgbClr val="0B538F"/>
                </a:solidFill>
                <a:latin typeface="Neo Sans Std" pitchFamily="34" charset="0"/>
                <a:ea typeface="ＭＳ Ｐゴシック" charset="0"/>
              </a:rPr>
              <a:t>Application areas of Tally:</a:t>
            </a:r>
            <a:endParaRPr lang="en-US" sz="2200" b="1" dirty="0">
              <a:solidFill>
                <a:srgbClr val="0B538F"/>
              </a:solidFill>
              <a:latin typeface="Neo Sans Std" pitchFamily="34" charset="0"/>
              <a:ea typeface="ＭＳ Ｐゴシック" charset="0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324531" y="2362200"/>
            <a:ext cx="8599715" cy="4247317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marL="285750" indent="-285750">
              <a:spcAft>
                <a:spcPts val="1200"/>
              </a:spcAft>
              <a:buBlip>
                <a:blip r:embed="rId6"/>
              </a:buBlip>
            </a:pPr>
            <a:r>
              <a:rPr lang="en-US" b="1" dirty="0" smtClean="0">
                <a:solidFill>
                  <a:prstClr val="black"/>
                </a:solidFill>
                <a:latin typeface="Neo Sans Std" pitchFamily="34" charset="0"/>
                <a:cs typeface="Calibri" pitchFamily="34" charset="0"/>
              </a:rPr>
              <a:t>Individual.</a:t>
            </a:r>
          </a:p>
          <a:p>
            <a:pPr marL="285750" indent="-285750">
              <a:spcAft>
                <a:spcPts val="1200"/>
              </a:spcAft>
              <a:buBlip>
                <a:blip r:embed="rId6"/>
              </a:buBlip>
            </a:pPr>
            <a:r>
              <a:rPr lang="en-US" b="1" dirty="0" smtClean="0">
                <a:solidFill>
                  <a:prstClr val="black"/>
                </a:solidFill>
                <a:latin typeface="Neo Sans Std" pitchFamily="34" charset="0"/>
                <a:cs typeface="Calibri" pitchFamily="34" charset="0"/>
              </a:rPr>
              <a:t>Traders,</a:t>
            </a:r>
          </a:p>
          <a:p>
            <a:pPr marL="285750" indent="-285750">
              <a:spcAft>
                <a:spcPts val="1200"/>
              </a:spcAft>
              <a:buBlip>
                <a:blip r:embed="rId6"/>
              </a:buBlip>
            </a:pPr>
            <a:r>
              <a:rPr lang="en-US" b="1" dirty="0" smtClean="0">
                <a:solidFill>
                  <a:prstClr val="black"/>
                </a:solidFill>
                <a:latin typeface="Neo Sans Std" pitchFamily="34" charset="0"/>
                <a:cs typeface="Calibri" pitchFamily="34" charset="0"/>
              </a:rPr>
              <a:t>Shop keeper.</a:t>
            </a:r>
          </a:p>
          <a:p>
            <a:pPr marL="285750" indent="-285750">
              <a:spcAft>
                <a:spcPts val="1200"/>
              </a:spcAft>
              <a:buBlip>
                <a:blip r:embed="rId6"/>
              </a:buBlip>
            </a:pPr>
            <a:r>
              <a:rPr lang="en-US" b="1" dirty="0" smtClean="0">
                <a:solidFill>
                  <a:prstClr val="black"/>
                </a:solidFill>
                <a:latin typeface="Neo Sans Std" pitchFamily="34" charset="0"/>
                <a:cs typeface="Calibri" pitchFamily="34" charset="0"/>
              </a:rPr>
              <a:t>Company.</a:t>
            </a:r>
          </a:p>
          <a:p>
            <a:pPr marL="285750" indent="-285750">
              <a:spcAft>
                <a:spcPts val="1200"/>
              </a:spcAft>
              <a:buBlip>
                <a:blip r:embed="rId6"/>
              </a:buBlip>
            </a:pPr>
            <a:r>
              <a:rPr lang="en-US" b="1" dirty="0" smtClean="0">
                <a:solidFill>
                  <a:prstClr val="black"/>
                </a:solidFill>
                <a:latin typeface="Neo Sans Std" pitchFamily="34" charset="0"/>
                <a:cs typeface="Calibri" pitchFamily="34" charset="0"/>
              </a:rPr>
              <a:t>Partnership Firms.</a:t>
            </a:r>
          </a:p>
          <a:p>
            <a:pPr marL="285750" indent="-285750">
              <a:spcAft>
                <a:spcPts val="1200"/>
              </a:spcAft>
              <a:buBlip>
                <a:blip r:embed="rId6"/>
              </a:buBlip>
            </a:pPr>
            <a:r>
              <a:rPr lang="en-US" b="1" dirty="0" smtClean="0">
                <a:solidFill>
                  <a:prstClr val="black"/>
                </a:solidFill>
                <a:latin typeface="Neo Sans Std" pitchFamily="34" charset="0"/>
                <a:cs typeface="Calibri" pitchFamily="34" charset="0"/>
              </a:rPr>
              <a:t>Agents.</a:t>
            </a:r>
          </a:p>
          <a:p>
            <a:pPr marL="285750" indent="-285750">
              <a:spcAft>
                <a:spcPts val="1200"/>
              </a:spcAft>
              <a:buBlip>
                <a:blip r:embed="rId6"/>
              </a:buBlip>
            </a:pPr>
            <a:r>
              <a:rPr lang="en-US" b="1" dirty="0" smtClean="0">
                <a:solidFill>
                  <a:prstClr val="black"/>
                </a:solidFill>
                <a:latin typeface="Neo Sans Std" pitchFamily="34" charset="0"/>
                <a:cs typeface="Calibri" pitchFamily="34" charset="0"/>
              </a:rPr>
              <a:t>Chartered Accountants.</a:t>
            </a:r>
          </a:p>
          <a:p>
            <a:pPr marL="285750" indent="-285750">
              <a:spcAft>
                <a:spcPts val="1200"/>
              </a:spcAft>
              <a:buBlip>
                <a:blip r:embed="rId6"/>
              </a:buBlip>
            </a:pPr>
            <a:r>
              <a:rPr lang="en-US" b="1" dirty="0" smtClean="0">
                <a:solidFill>
                  <a:prstClr val="black"/>
                </a:solidFill>
                <a:latin typeface="Neo Sans Std" pitchFamily="34" charset="0"/>
                <a:cs typeface="Calibri" pitchFamily="34" charset="0"/>
              </a:rPr>
              <a:t>Advocate.</a:t>
            </a:r>
          </a:p>
          <a:p>
            <a:pPr marL="285750" indent="-285750">
              <a:spcAft>
                <a:spcPts val="1200"/>
              </a:spcAft>
              <a:buBlip>
                <a:blip r:embed="rId6"/>
              </a:buBlip>
            </a:pPr>
            <a:r>
              <a:rPr lang="en-US" b="1" dirty="0" smtClean="0">
                <a:solidFill>
                  <a:prstClr val="black"/>
                </a:solidFill>
                <a:latin typeface="Neo Sans Std" pitchFamily="34" charset="0"/>
                <a:cs typeface="Calibri" pitchFamily="34" charset="0"/>
              </a:rPr>
              <a:t>Charitable trust.</a:t>
            </a:r>
          </a:p>
          <a:p>
            <a:pPr marL="285750" indent="-285750">
              <a:spcAft>
                <a:spcPts val="1200"/>
              </a:spcAft>
              <a:buBlip>
                <a:blip r:embed="rId6"/>
              </a:buBlip>
            </a:pPr>
            <a:r>
              <a:rPr lang="en-US" b="1" dirty="0" smtClean="0">
                <a:solidFill>
                  <a:prstClr val="black"/>
                </a:solidFill>
                <a:latin typeface="Neo Sans Std" pitchFamily="34" charset="0"/>
                <a:cs typeface="Calibri" pitchFamily="34" charset="0"/>
              </a:rPr>
              <a:t>.Service industry.</a:t>
            </a:r>
          </a:p>
        </p:txBody>
      </p:sp>
    </p:spTree>
    <p:extLst>
      <p:ext uri="{BB962C8B-B14F-4D97-AF65-F5344CB8AC3E}">
        <p14:creationId xmlns:p14="http://schemas.microsoft.com/office/powerpoint/2010/main" val="33398221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isInverted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8" name="Object 3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8823282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2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1" name="Straight Connector 10"/>
          <p:cNvCxnSpPr/>
          <p:nvPr/>
        </p:nvCxnSpPr>
        <p:spPr>
          <a:xfrm rot="5400000">
            <a:off x="4581414" y="-2181922"/>
            <a:ext cx="0" cy="6345044"/>
          </a:xfrm>
          <a:prstGeom prst="line">
            <a:avLst/>
          </a:prstGeom>
          <a:ln w="3175">
            <a:solidFill>
              <a:schemeClr val="bg1">
                <a:lumMod val="75000"/>
                <a:alpha val="48000"/>
              </a:schemeClr>
            </a:solidFill>
          </a:ln>
          <a:effectLst>
            <a:outerShdw blurRad="38100" algn="ctr" rotWithShape="0">
              <a:schemeClr val="tx1">
                <a:alpha val="44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3" name="TextBox 12"/>
          <p:cNvSpPr txBox="1"/>
          <p:nvPr/>
        </p:nvSpPr>
        <p:spPr>
          <a:xfrm>
            <a:off x="324531" y="115669"/>
            <a:ext cx="8543925" cy="64633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b="1" dirty="0" smtClean="0">
                <a:solidFill>
                  <a:srgbClr val="0B538F"/>
                </a:solidFill>
                <a:latin typeface="Neo Sans Std Medium" pitchFamily="34" charset="0"/>
                <a:ea typeface="ＭＳ Ｐゴシック" charset="0"/>
              </a:rPr>
              <a:t>Tally ERP.9</a:t>
            </a:r>
          </a:p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sz="2400" b="1" dirty="0" smtClean="0">
                <a:solidFill>
                  <a:srgbClr val="0B538F"/>
                </a:solidFill>
                <a:latin typeface="Neo Sans Std" pitchFamily="34" charset="0"/>
                <a:ea typeface="ＭＳ Ｐゴシック" charset="0"/>
              </a:rPr>
              <a:t>Introduction of Accounting</a:t>
            </a:r>
            <a:endParaRPr lang="en-US" sz="2400" b="1" dirty="0">
              <a:solidFill>
                <a:srgbClr val="0B538F"/>
              </a:solidFill>
              <a:latin typeface="Neo Sans Std" pitchFamily="34" charset="0"/>
              <a:ea typeface="ＭＳ Ｐゴシック" charset="0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0" y="1109246"/>
            <a:ext cx="9076646" cy="33855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sz="2200" b="1" dirty="0" smtClean="0">
                <a:solidFill>
                  <a:srgbClr val="0B538F"/>
                </a:solidFill>
                <a:latin typeface="Neo Sans Std" pitchFamily="34" charset="0"/>
                <a:ea typeface="ＭＳ Ｐゴシック" charset="0"/>
              </a:rPr>
              <a:t>Need of Accounting:</a:t>
            </a:r>
            <a:endParaRPr lang="en-US" sz="2200" b="1" dirty="0">
              <a:solidFill>
                <a:srgbClr val="0B538F"/>
              </a:solidFill>
              <a:latin typeface="Neo Sans Std" pitchFamily="34" charset="0"/>
              <a:ea typeface="ＭＳ Ｐゴシック" charset="0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324531" y="1447800"/>
            <a:ext cx="8599715" cy="295465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marL="285750" indent="-285750">
              <a:spcAft>
                <a:spcPts val="1200"/>
              </a:spcAft>
              <a:buBlip>
                <a:blip r:embed="rId6"/>
              </a:buBlip>
            </a:pPr>
            <a:r>
              <a:rPr lang="en-US" b="1" dirty="0" smtClean="0">
                <a:solidFill>
                  <a:prstClr val="black"/>
                </a:solidFill>
                <a:latin typeface="Neo Sans Std" pitchFamily="34" charset="0"/>
                <a:cs typeface="Calibri" pitchFamily="34" charset="0"/>
              </a:rPr>
              <a:t>To create records.</a:t>
            </a:r>
          </a:p>
          <a:p>
            <a:pPr marL="285750" indent="-285750">
              <a:spcAft>
                <a:spcPts val="1200"/>
              </a:spcAft>
              <a:buBlip>
                <a:blip r:embed="rId6"/>
              </a:buBlip>
            </a:pPr>
            <a:r>
              <a:rPr lang="en-US" b="1" dirty="0" smtClean="0">
                <a:solidFill>
                  <a:prstClr val="black"/>
                </a:solidFill>
                <a:latin typeface="Neo Sans Std" pitchFamily="34" charset="0"/>
                <a:cs typeface="Calibri" pitchFamily="34" charset="0"/>
              </a:rPr>
              <a:t>To create evidence.</a:t>
            </a:r>
          </a:p>
          <a:p>
            <a:pPr marL="285750" indent="-285750">
              <a:spcAft>
                <a:spcPts val="1200"/>
              </a:spcAft>
              <a:buBlip>
                <a:blip r:embed="rId6"/>
              </a:buBlip>
            </a:pPr>
            <a:r>
              <a:rPr lang="en-US" b="1" dirty="0" smtClean="0">
                <a:solidFill>
                  <a:prstClr val="black"/>
                </a:solidFill>
                <a:latin typeface="Neo Sans Std" pitchFamily="34" charset="0"/>
                <a:cs typeface="Calibri" pitchFamily="34" charset="0"/>
              </a:rPr>
              <a:t>For decision making.</a:t>
            </a:r>
          </a:p>
          <a:p>
            <a:pPr marL="285750" indent="-285750">
              <a:spcAft>
                <a:spcPts val="1200"/>
              </a:spcAft>
              <a:buBlip>
                <a:blip r:embed="rId6"/>
              </a:buBlip>
            </a:pPr>
            <a:r>
              <a:rPr lang="en-US" b="1" dirty="0" smtClean="0">
                <a:solidFill>
                  <a:prstClr val="black"/>
                </a:solidFill>
                <a:latin typeface="Neo Sans Std" pitchFamily="34" charset="0"/>
                <a:cs typeface="Calibri" pitchFamily="34" charset="0"/>
              </a:rPr>
              <a:t>To have the control over the business.</a:t>
            </a:r>
          </a:p>
          <a:p>
            <a:pPr marL="285750" indent="-285750">
              <a:spcAft>
                <a:spcPts val="1200"/>
              </a:spcAft>
              <a:buBlip>
                <a:blip r:embed="rId6"/>
              </a:buBlip>
            </a:pPr>
            <a:r>
              <a:rPr lang="en-US" b="1" dirty="0" smtClean="0">
                <a:solidFill>
                  <a:prstClr val="black"/>
                </a:solidFill>
                <a:latin typeface="Neo Sans Std" pitchFamily="34" charset="0"/>
                <a:cs typeface="Calibri" pitchFamily="34" charset="0"/>
              </a:rPr>
              <a:t>Prevention of frauds &amp; losses.</a:t>
            </a:r>
          </a:p>
          <a:p>
            <a:pPr marL="285750" indent="-285750">
              <a:spcAft>
                <a:spcPts val="1200"/>
              </a:spcAft>
              <a:buBlip>
                <a:blip r:embed="rId6"/>
              </a:buBlip>
            </a:pPr>
            <a:r>
              <a:rPr lang="en-US" b="1" dirty="0" smtClean="0">
                <a:solidFill>
                  <a:prstClr val="black"/>
                </a:solidFill>
                <a:latin typeface="Neo Sans Std" pitchFamily="34" charset="0"/>
                <a:cs typeface="Calibri" pitchFamily="34" charset="0"/>
              </a:rPr>
              <a:t>To know the Profit &amp; Loss.</a:t>
            </a:r>
          </a:p>
          <a:p>
            <a:pPr marL="285750" indent="-285750">
              <a:spcAft>
                <a:spcPts val="1200"/>
              </a:spcAft>
              <a:buBlip>
                <a:blip r:embed="rId6"/>
              </a:buBlip>
            </a:pPr>
            <a:endParaRPr lang="en-US" b="1" dirty="0">
              <a:solidFill>
                <a:prstClr val="black"/>
              </a:solidFill>
              <a:latin typeface="Neo Sans Std" pitchFamily="34" charset="0"/>
              <a:cs typeface="Calibri" pitchFamily="34" charset="0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0" y="4385846"/>
            <a:ext cx="9144000" cy="33855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sz="2200" b="1" dirty="0" smtClean="0">
                <a:solidFill>
                  <a:srgbClr val="0B538F"/>
                </a:solidFill>
                <a:latin typeface="Neo Sans Std" pitchFamily="34" charset="0"/>
                <a:ea typeface="ＭＳ Ｐゴシック" charset="0"/>
              </a:rPr>
              <a:t>Methods of Accounting:</a:t>
            </a:r>
            <a:endParaRPr lang="en-US" sz="2200" b="1" dirty="0">
              <a:solidFill>
                <a:srgbClr val="0B538F"/>
              </a:solidFill>
              <a:latin typeface="Neo Sans Std" pitchFamily="34" charset="0"/>
              <a:ea typeface="ＭＳ Ｐゴシック" charset="0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210571" y="4876800"/>
            <a:ext cx="8866075" cy="369332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spcAft>
                <a:spcPts val="1200"/>
              </a:spcAft>
            </a:pPr>
            <a:r>
              <a:rPr lang="en-US" b="1" dirty="0" smtClean="0">
                <a:solidFill>
                  <a:prstClr val="black"/>
                </a:solidFill>
                <a:latin typeface="Neo Sans Std" pitchFamily="34" charset="0"/>
                <a:cs typeface="Calibri" pitchFamily="34" charset="0"/>
              </a:rPr>
              <a:t>                          Business transactions are recorded in two different ways:</a:t>
            </a:r>
            <a:endParaRPr lang="en-US" b="1" dirty="0">
              <a:solidFill>
                <a:prstClr val="black"/>
              </a:solidFill>
              <a:latin typeface="Neo Sans Std" pitchFamily="34" charset="0"/>
              <a:cs typeface="Calibri" pitchFamily="34" charset="0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476931" y="5486400"/>
            <a:ext cx="8599715" cy="1231106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marL="285750" indent="-285750">
              <a:spcAft>
                <a:spcPts val="1200"/>
              </a:spcAft>
              <a:buBlip>
                <a:blip r:embed="rId6"/>
              </a:buBlip>
            </a:pPr>
            <a:r>
              <a:rPr lang="en-US" b="1" dirty="0" smtClean="0">
                <a:solidFill>
                  <a:prstClr val="black"/>
                </a:solidFill>
                <a:latin typeface="Neo Sans Std" pitchFamily="34" charset="0"/>
                <a:cs typeface="Calibri" pitchFamily="34" charset="0"/>
              </a:rPr>
              <a:t>Single Entry System.</a:t>
            </a:r>
          </a:p>
          <a:p>
            <a:pPr marL="285750" indent="-285750">
              <a:spcAft>
                <a:spcPts val="1200"/>
              </a:spcAft>
              <a:buBlip>
                <a:blip r:embed="rId6"/>
              </a:buBlip>
            </a:pPr>
            <a:r>
              <a:rPr lang="en-US" b="1" dirty="0" smtClean="0">
                <a:solidFill>
                  <a:prstClr val="black"/>
                </a:solidFill>
                <a:latin typeface="Neo Sans Std" pitchFamily="34" charset="0"/>
                <a:cs typeface="Calibri" pitchFamily="34" charset="0"/>
              </a:rPr>
              <a:t>Double </a:t>
            </a:r>
            <a:r>
              <a:rPr lang="en-US" b="1" dirty="0">
                <a:solidFill>
                  <a:prstClr val="black"/>
                </a:solidFill>
                <a:latin typeface="Neo Sans Std" pitchFamily="34" charset="0"/>
                <a:cs typeface="Calibri" pitchFamily="34" charset="0"/>
              </a:rPr>
              <a:t>Entry System.</a:t>
            </a:r>
            <a:endParaRPr lang="en-US" b="1" dirty="0" smtClean="0">
              <a:solidFill>
                <a:prstClr val="black"/>
              </a:solidFill>
              <a:latin typeface="Neo Sans Std" pitchFamily="34" charset="0"/>
              <a:cs typeface="Calibri" pitchFamily="34" charset="0"/>
            </a:endParaRPr>
          </a:p>
          <a:p>
            <a:pPr marL="285750" indent="-285750">
              <a:spcAft>
                <a:spcPts val="1200"/>
              </a:spcAft>
              <a:buBlip>
                <a:blip r:embed="rId6"/>
              </a:buBlip>
            </a:pPr>
            <a:endParaRPr lang="en-US" b="1" dirty="0">
              <a:solidFill>
                <a:prstClr val="black"/>
              </a:solidFill>
              <a:latin typeface="Neo Sans Std" pitchFamily="34" charset="0"/>
              <a:cs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01776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isInverted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8" name="Object 3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869511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81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1" name="Straight Connector 10"/>
          <p:cNvCxnSpPr/>
          <p:nvPr/>
        </p:nvCxnSpPr>
        <p:spPr>
          <a:xfrm rot="5400000">
            <a:off x="4581414" y="-2181922"/>
            <a:ext cx="0" cy="6345044"/>
          </a:xfrm>
          <a:prstGeom prst="line">
            <a:avLst/>
          </a:prstGeom>
          <a:ln w="3175">
            <a:solidFill>
              <a:schemeClr val="bg1">
                <a:lumMod val="75000"/>
                <a:alpha val="48000"/>
              </a:schemeClr>
            </a:solidFill>
          </a:ln>
          <a:effectLst>
            <a:outerShdw blurRad="38100" algn="ctr" rotWithShape="0">
              <a:schemeClr val="tx1">
                <a:alpha val="44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3" name="TextBox 12"/>
          <p:cNvSpPr txBox="1"/>
          <p:nvPr/>
        </p:nvSpPr>
        <p:spPr>
          <a:xfrm>
            <a:off x="324531" y="115669"/>
            <a:ext cx="8543925" cy="64633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b="1" dirty="0" smtClean="0">
                <a:solidFill>
                  <a:srgbClr val="0B538F"/>
                </a:solidFill>
                <a:latin typeface="Neo Sans Std Medium" pitchFamily="34" charset="0"/>
                <a:ea typeface="ＭＳ Ｐゴシック" charset="0"/>
              </a:rPr>
              <a:t>Tally ERP.9</a:t>
            </a:r>
          </a:p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sz="2400" b="1" dirty="0" smtClean="0">
                <a:solidFill>
                  <a:srgbClr val="0B538F"/>
                </a:solidFill>
                <a:latin typeface="Neo Sans Std" pitchFamily="34" charset="0"/>
                <a:ea typeface="ＭＳ Ｐゴシック" charset="0"/>
              </a:rPr>
              <a:t>Introduction of Tally</a:t>
            </a:r>
            <a:endParaRPr lang="en-US" sz="2400" b="1" dirty="0">
              <a:solidFill>
                <a:srgbClr val="0B538F"/>
              </a:solidFill>
              <a:latin typeface="Neo Sans Std" pitchFamily="34" charset="0"/>
              <a:ea typeface="ＭＳ Ｐゴシック" charset="0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0" y="1718846"/>
            <a:ext cx="9144000" cy="33855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sz="2200" b="1" dirty="0" smtClean="0">
                <a:solidFill>
                  <a:srgbClr val="0B538F"/>
                </a:solidFill>
                <a:latin typeface="Neo Sans Std" pitchFamily="34" charset="0"/>
                <a:ea typeface="ＭＳ Ｐゴシック" charset="0"/>
              </a:rPr>
              <a:t>Advantages of Tally :</a:t>
            </a:r>
            <a:endParaRPr lang="en-US" sz="2200" b="1" dirty="0">
              <a:solidFill>
                <a:srgbClr val="0B538F"/>
              </a:solidFill>
              <a:latin typeface="Neo Sans Std" pitchFamily="34" charset="0"/>
              <a:ea typeface="ＭＳ Ｐゴシック" charset="0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324531" y="2531745"/>
            <a:ext cx="8599715" cy="3385542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marL="285750" indent="-285750">
              <a:spcAft>
                <a:spcPts val="1200"/>
              </a:spcAft>
              <a:buBlip>
                <a:blip r:embed="rId6"/>
              </a:buBlip>
            </a:pPr>
            <a:r>
              <a:rPr lang="en-US" b="1" dirty="0" smtClean="0">
                <a:solidFill>
                  <a:prstClr val="black"/>
                </a:solidFill>
                <a:latin typeface="Neo Sans Std" pitchFamily="34" charset="0"/>
                <a:cs typeface="Calibri" pitchFamily="34" charset="0"/>
              </a:rPr>
              <a:t>Data Im</a:t>
            </a:r>
            <a:r>
              <a:rPr lang="en-US" b="1" dirty="0">
                <a:solidFill>
                  <a:prstClr val="black"/>
                </a:solidFill>
                <a:latin typeface="Neo Sans Std" pitchFamily="34" charset="0"/>
                <a:cs typeface="Calibri" pitchFamily="34" charset="0"/>
              </a:rPr>
              <a:t>p</a:t>
            </a:r>
            <a:r>
              <a:rPr lang="en-US" b="1" dirty="0" smtClean="0">
                <a:solidFill>
                  <a:prstClr val="black"/>
                </a:solidFill>
                <a:latin typeface="Neo Sans Std" pitchFamily="34" charset="0"/>
                <a:cs typeface="Calibri" pitchFamily="34" charset="0"/>
              </a:rPr>
              <a:t>ort &amp; Export facility.</a:t>
            </a:r>
          </a:p>
          <a:p>
            <a:pPr marL="285750" indent="-285750">
              <a:spcAft>
                <a:spcPts val="1200"/>
              </a:spcAft>
              <a:buBlip>
                <a:blip r:embed="rId6"/>
              </a:buBlip>
            </a:pPr>
            <a:r>
              <a:rPr lang="en-US" b="1" dirty="0" smtClean="0">
                <a:solidFill>
                  <a:prstClr val="black"/>
                </a:solidFill>
                <a:latin typeface="Neo Sans Std" pitchFamily="34" charset="0"/>
                <a:cs typeface="Calibri" pitchFamily="34" charset="0"/>
              </a:rPr>
              <a:t>Audit facility.</a:t>
            </a:r>
          </a:p>
          <a:p>
            <a:pPr marL="285750" indent="-285750">
              <a:spcAft>
                <a:spcPts val="1200"/>
              </a:spcAft>
              <a:buBlip>
                <a:blip r:embed="rId6"/>
              </a:buBlip>
            </a:pPr>
            <a:r>
              <a:rPr lang="en-US" b="1" dirty="0" smtClean="0">
                <a:solidFill>
                  <a:prstClr val="black"/>
                </a:solidFill>
                <a:latin typeface="Neo Sans Std" pitchFamily="34" charset="0"/>
                <a:cs typeface="Calibri" pitchFamily="34" charset="0"/>
              </a:rPr>
              <a:t>Scenario management.</a:t>
            </a:r>
          </a:p>
          <a:p>
            <a:pPr marL="285750" indent="-285750">
              <a:spcAft>
                <a:spcPts val="1200"/>
              </a:spcAft>
              <a:buBlip>
                <a:blip r:embed="rId6"/>
              </a:buBlip>
            </a:pPr>
            <a:r>
              <a:rPr lang="en-US" b="1" dirty="0" smtClean="0">
                <a:solidFill>
                  <a:prstClr val="black"/>
                </a:solidFill>
                <a:latin typeface="Neo Sans Std" pitchFamily="34" charset="0"/>
                <a:cs typeface="Calibri" pitchFamily="34" charset="0"/>
              </a:rPr>
              <a:t>Budgeting.</a:t>
            </a:r>
          </a:p>
          <a:p>
            <a:pPr marL="285750" indent="-285750">
              <a:spcAft>
                <a:spcPts val="1200"/>
              </a:spcAft>
              <a:buBlip>
                <a:blip r:embed="rId6"/>
              </a:buBlip>
            </a:pPr>
            <a:r>
              <a:rPr lang="en-US" b="1" dirty="0" smtClean="0">
                <a:solidFill>
                  <a:prstClr val="black"/>
                </a:solidFill>
                <a:latin typeface="Neo Sans Std" pitchFamily="34" charset="0"/>
                <a:cs typeface="Calibri" pitchFamily="34" charset="0"/>
              </a:rPr>
              <a:t>Price List.</a:t>
            </a:r>
          </a:p>
          <a:p>
            <a:pPr marL="285750" indent="-285750">
              <a:spcAft>
                <a:spcPts val="1200"/>
              </a:spcAft>
              <a:buBlip>
                <a:blip r:embed="rId6"/>
              </a:buBlip>
            </a:pPr>
            <a:r>
              <a:rPr lang="en-US" b="1" dirty="0" smtClean="0">
                <a:solidFill>
                  <a:prstClr val="black"/>
                </a:solidFill>
                <a:latin typeface="Neo Sans Std" pitchFamily="34" charset="0"/>
                <a:cs typeface="Calibri" pitchFamily="34" charset="0"/>
              </a:rPr>
              <a:t>Ratio Analysis.</a:t>
            </a:r>
          </a:p>
          <a:p>
            <a:pPr marL="285750" indent="-285750">
              <a:spcAft>
                <a:spcPts val="1200"/>
              </a:spcAft>
              <a:buBlip>
                <a:blip r:embed="rId6"/>
              </a:buBlip>
            </a:pPr>
            <a:r>
              <a:rPr lang="en-US" b="1" dirty="0" smtClean="0">
                <a:solidFill>
                  <a:prstClr val="black"/>
                </a:solidFill>
                <a:latin typeface="Neo Sans Std" pitchFamily="34" charset="0"/>
                <a:cs typeface="Calibri" pitchFamily="34" charset="0"/>
              </a:rPr>
              <a:t>Credit Control.</a:t>
            </a:r>
          </a:p>
          <a:p>
            <a:pPr marL="285750" indent="-285750">
              <a:spcAft>
                <a:spcPts val="1200"/>
              </a:spcAft>
              <a:buBlip>
                <a:blip r:embed="rId6"/>
              </a:buBlip>
            </a:pPr>
            <a:r>
              <a:rPr lang="en-US" b="1" dirty="0" smtClean="0">
                <a:solidFill>
                  <a:prstClr val="black"/>
                </a:solidFill>
                <a:latin typeface="Neo Sans Std" pitchFamily="34" charset="0"/>
                <a:cs typeface="Calibri" pitchFamily="34" charset="0"/>
              </a:rPr>
              <a:t>Tracking </a:t>
            </a:r>
            <a:r>
              <a:rPr lang="en-US" b="1" smtClean="0">
                <a:solidFill>
                  <a:prstClr val="black"/>
                </a:solidFill>
                <a:latin typeface="Neo Sans Std" pitchFamily="34" charset="0"/>
                <a:cs typeface="Calibri" pitchFamily="34" charset="0"/>
              </a:rPr>
              <a:t>through Receipt/Delivery Note.</a:t>
            </a:r>
            <a:endParaRPr lang="en-US" b="1" dirty="0" smtClean="0">
              <a:solidFill>
                <a:prstClr val="black"/>
              </a:solidFill>
              <a:latin typeface="Neo Sans Std" pitchFamily="34" charset="0"/>
              <a:cs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398221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isInverted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8" name="Object 3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1308394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7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extBox 12"/>
          <p:cNvSpPr txBox="1"/>
          <p:nvPr/>
        </p:nvSpPr>
        <p:spPr>
          <a:xfrm>
            <a:off x="324531" y="115669"/>
            <a:ext cx="8543925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b="1" dirty="0" smtClean="0">
                <a:solidFill>
                  <a:srgbClr val="0B538F"/>
                </a:solidFill>
                <a:latin typeface="Neo Sans Std Medium" pitchFamily="34" charset="0"/>
                <a:ea typeface="ＭＳ Ｐゴシック" charset="0"/>
              </a:rPr>
              <a:t>Tally ERP.9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-1" y="1479828"/>
            <a:ext cx="9094675" cy="67710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sz="4300" b="1" dirty="0" smtClean="0">
                <a:solidFill>
                  <a:srgbClr val="0B538F"/>
                </a:solidFill>
                <a:latin typeface="Neo Sans Std" pitchFamily="34" charset="0"/>
                <a:ea typeface="ＭＳ Ｐゴシック" charset="0"/>
              </a:rPr>
              <a:t>Tally ERP.9</a:t>
            </a:r>
            <a:endParaRPr lang="en-US" sz="4300" b="1" dirty="0">
              <a:solidFill>
                <a:srgbClr val="0B538F"/>
              </a:solidFill>
              <a:latin typeface="Neo Sans Std" pitchFamily="34" charset="0"/>
              <a:ea typeface="ＭＳ Ｐゴシック" charset="0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-76200" y="2205335"/>
            <a:ext cx="9139409" cy="52322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algn="ctr">
              <a:spcAft>
                <a:spcPts val="1200"/>
              </a:spcAft>
            </a:pPr>
            <a:r>
              <a:rPr lang="en-US" sz="2800" b="1" dirty="0" smtClean="0">
                <a:solidFill>
                  <a:prstClr val="black"/>
                </a:solidFill>
                <a:latin typeface="Neo Sans Std" pitchFamily="34" charset="0"/>
                <a:cs typeface="Calibri" pitchFamily="34" charset="0"/>
              </a:rPr>
              <a:t>   Power of Simplicity</a:t>
            </a:r>
            <a:endParaRPr lang="en-US" sz="2800" b="1" dirty="0">
              <a:solidFill>
                <a:prstClr val="black"/>
              </a:solidFill>
              <a:latin typeface="Neo Sans Std" pitchFamily="34" charset="0"/>
              <a:cs typeface="Calibri" pitchFamily="34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0" y="3657600"/>
            <a:ext cx="9144000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sz="2800" b="1" dirty="0" smtClean="0">
                <a:ln w="1905"/>
                <a:gradFill>
                  <a:gsLst>
                    <a:gs pos="0">
                      <a:schemeClr val="accent6">
                        <a:shade val="20000"/>
                        <a:satMod val="200000"/>
                      </a:schemeClr>
                    </a:gs>
                    <a:gs pos="78000">
                      <a:schemeClr val="accent6">
                        <a:tint val="90000"/>
                        <a:shade val="89000"/>
                        <a:satMod val="220000"/>
                      </a:schemeClr>
                    </a:gs>
                    <a:gs pos="100000">
                      <a:schemeClr val="accent6">
                        <a:tint val="12000"/>
                        <a:satMod val="255000"/>
                      </a:schemeClr>
                    </a:gs>
                  </a:gsLst>
                  <a:lin ang="5400000"/>
                </a:gra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Neo Sans Std" pitchFamily="34" charset="0"/>
                <a:ea typeface="ＭＳ Ｐゴシック" charset="0"/>
              </a:rPr>
              <a:t>     ERP – Enterprise Resource Planning </a:t>
            </a:r>
          </a:p>
        </p:txBody>
      </p:sp>
    </p:spTree>
    <p:extLst>
      <p:ext uri="{BB962C8B-B14F-4D97-AF65-F5344CB8AC3E}">
        <p14:creationId xmlns:p14="http://schemas.microsoft.com/office/powerpoint/2010/main" val="42214998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isInverted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 rot="381690">
            <a:off x="4163958" y="5508369"/>
            <a:ext cx="4606268" cy="1500968"/>
          </a:xfrm>
        </p:spPr>
        <p:txBody>
          <a:bodyPr>
            <a:normAutofit/>
          </a:bodyPr>
          <a:lstStyle/>
          <a:p>
            <a:r>
              <a:rPr lang="en-US" sz="3200" b="1" dirty="0" smtClean="0">
                <a:latin typeface="MV Boli" pitchFamily="2" charset="0"/>
                <a:cs typeface="MV Boli" pitchFamily="2" charset="0"/>
              </a:rPr>
              <a:t>Surround Yourself </a:t>
            </a:r>
          </a:p>
          <a:p>
            <a:r>
              <a:rPr lang="en-US" sz="3200" b="1" dirty="0" smtClean="0">
                <a:latin typeface="MV Boli" pitchFamily="2" charset="0"/>
                <a:cs typeface="MV Boli" pitchFamily="2" charset="0"/>
              </a:rPr>
              <a:t>With Positive People</a:t>
            </a:r>
            <a:endParaRPr lang="en-US" sz="3200" b="1" dirty="0">
              <a:latin typeface="MV Boli" pitchFamily="2" charset="0"/>
              <a:cs typeface="MV Boli" pitchFamily="2" charset="0"/>
            </a:endParaRPr>
          </a:p>
        </p:txBody>
      </p:sp>
      <p:pic>
        <p:nvPicPr>
          <p:cNvPr id="5" name="Picture Placeholder 4" descr="sky-paper(2).jpg"/>
          <p:cNvPicPr>
            <a:picLocks noGrp="1" noChangeAspect="1"/>
          </p:cNvPicPr>
          <p:nvPr>
            <p:ph type="pic" idx="1"/>
          </p:nvPr>
        </p:nvPicPr>
        <p:blipFill>
          <a:blip r:embed="rId2"/>
          <a:srcRect l="14255" r="14255"/>
          <a:stretch>
            <a:fillRect/>
          </a:stretch>
        </p:blipFill>
        <p:spPr>
          <a:prstGeom prst="rect">
            <a:avLst/>
          </a:prstGeom>
          <a:solidFill>
            <a:srgbClr val="FFFFFF">
              <a:shade val="85000"/>
            </a:srgbClr>
          </a:solidFill>
          <a:ln w="190500" cap="sq">
            <a:solidFill>
              <a:srgbClr val="FFFFFF"/>
            </a:solidFill>
            <a:miter lim="800000"/>
          </a:ln>
          <a:effectLst>
            <a:outerShdw blurRad="65000" dist="50800" dir="12900000" kx="195000" ky="145000" algn="tl" rotWithShape="0">
              <a:srgbClr val="000000">
                <a:alpha val="30000"/>
              </a:srgbClr>
            </a:outerShdw>
          </a:effectLst>
          <a:scene3d>
            <a:camera prst="orthographicFront">
              <a:rot lat="0" lon="0" rev="360000"/>
            </a:camera>
            <a:lightRig rig="twoPt" dir="t">
              <a:rot lat="0" lon="0" rev="7200000"/>
            </a:lightRig>
          </a:scene3d>
          <a:sp3d contourW="12700">
            <a:bevelT w="25400" h="19050"/>
            <a:contourClr>
              <a:srgbClr val="969696"/>
            </a:contourClr>
          </a:sp3d>
        </p:spPr>
      </p:pic>
    </p:spTree>
    <p:extLst>
      <p:ext uri="{BB962C8B-B14F-4D97-AF65-F5344CB8AC3E}">
        <p14:creationId xmlns:p14="http://schemas.microsoft.com/office/powerpoint/2010/main" val="3723615937"/>
      </p:ext>
    </p:extLst>
  </p:cSld>
  <p:clrMapOvr>
    <a:masterClrMapping/>
  </p:clrMapOvr>
  <p:transition spd="slow">
    <p:diamond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2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Rot by="120000">
                                      <p:cBhvr>
                                        <p:cTn id="6" dur="1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-240000">
                                      <p:cBhvr>
                                        <p:cTn id="7" dur="200" fill="hold">
                                          <p:stCondLst>
                                            <p:cond delay="20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240000">
                                      <p:cBhvr>
                                        <p:cTn id="8" dur="200" fill="hold">
                                          <p:stCondLst>
                                            <p:cond delay="40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-240000">
                                      <p:cBhvr>
                                        <p:cTn id="9" dur="200" fill="hold">
                                          <p:stCondLst>
                                            <p:cond delay="60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120000">
                                      <p:cBhvr>
                                        <p:cTn id="10" dur="200" fill="hold">
                                          <p:stCondLst>
                                            <p:cond delay="80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8" name="Object 3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2071532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4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1" name="Straight Connector 10"/>
          <p:cNvCxnSpPr/>
          <p:nvPr/>
        </p:nvCxnSpPr>
        <p:spPr>
          <a:xfrm rot="5400000">
            <a:off x="4581414" y="-2181922"/>
            <a:ext cx="0" cy="6345044"/>
          </a:xfrm>
          <a:prstGeom prst="line">
            <a:avLst/>
          </a:prstGeom>
          <a:ln w="3175">
            <a:solidFill>
              <a:schemeClr val="bg1">
                <a:lumMod val="75000"/>
                <a:alpha val="48000"/>
              </a:schemeClr>
            </a:solidFill>
          </a:ln>
          <a:effectLst>
            <a:outerShdw blurRad="38100" algn="ctr" rotWithShape="0">
              <a:schemeClr val="tx1">
                <a:alpha val="44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3" name="TextBox 12"/>
          <p:cNvSpPr txBox="1"/>
          <p:nvPr/>
        </p:nvSpPr>
        <p:spPr>
          <a:xfrm>
            <a:off x="324531" y="115669"/>
            <a:ext cx="8543925" cy="64633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b="1" dirty="0" smtClean="0">
                <a:solidFill>
                  <a:srgbClr val="0B538F"/>
                </a:solidFill>
                <a:latin typeface="Neo Sans Std Medium" pitchFamily="34" charset="0"/>
                <a:ea typeface="ＭＳ Ｐゴシック" charset="0"/>
              </a:rPr>
              <a:t>Tally ERP.9</a:t>
            </a:r>
          </a:p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sz="2400" b="1" dirty="0" smtClean="0">
                <a:solidFill>
                  <a:srgbClr val="0B538F"/>
                </a:solidFill>
                <a:latin typeface="Neo Sans Std" pitchFamily="34" charset="0"/>
                <a:ea typeface="ＭＳ Ｐゴシック" charset="0"/>
              </a:rPr>
              <a:t>Introduction of Accounting</a:t>
            </a:r>
            <a:endParaRPr lang="en-US" sz="2400" b="1" dirty="0">
              <a:solidFill>
                <a:srgbClr val="0B538F"/>
              </a:solidFill>
              <a:latin typeface="Neo Sans Std" pitchFamily="34" charset="0"/>
              <a:ea typeface="ＭＳ Ｐゴシック" charset="0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210572" y="1261646"/>
            <a:ext cx="4495800" cy="33855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sz="2200" b="1" dirty="0" smtClean="0">
                <a:solidFill>
                  <a:srgbClr val="0B538F"/>
                </a:solidFill>
                <a:latin typeface="Neo Sans Std" pitchFamily="34" charset="0"/>
                <a:ea typeface="ＭＳ Ｐゴシック" charset="0"/>
              </a:rPr>
              <a:t>Single Entry System:</a:t>
            </a:r>
            <a:endParaRPr lang="en-US" sz="2200" b="1" dirty="0">
              <a:solidFill>
                <a:srgbClr val="0B538F"/>
              </a:solidFill>
              <a:latin typeface="Neo Sans Std" pitchFamily="34" charset="0"/>
              <a:ea typeface="ＭＳ Ｐゴシック" charset="0"/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228600" y="3700046"/>
            <a:ext cx="4495800" cy="33855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sz="2200" b="1" dirty="0" smtClean="0">
                <a:solidFill>
                  <a:srgbClr val="0B538F"/>
                </a:solidFill>
                <a:latin typeface="Neo Sans Std" pitchFamily="34" charset="0"/>
                <a:ea typeface="ＭＳ Ｐゴシック" charset="0"/>
              </a:rPr>
              <a:t>Double Entry System:</a:t>
            </a:r>
            <a:endParaRPr lang="en-US" sz="2200" b="1" dirty="0">
              <a:solidFill>
                <a:srgbClr val="0B538F"/>
              </a:solidFill>
              <a:latin typeface="Neo Sans Std" pitchFamily="34" charset="0"/>
              <a:ea typeface="ＭＳ Ｐゴシック" charset="0"/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381000" y="1905000"/>
            <a:ext cx="8599715" cy="1231106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marL="285750" indent="-285750">
              <a:spcAft>
                <a:spcPts val="1200"/>
              </a:spcAft>
              <a:buBlip>
                <a:blip r:embed="rId6"/>
              </a:buBlip>
            </a:pPr>
            <a:r>
              <a:rPr lang="en-US" b="1" dirty="0">
                <a:solidFill>
                  <a:prstClr val="black"/>
                </a:solidFill>
                <a:latin typeface="Neo Sans Std" pitchFamily="34" charset="0"/>
                <a:cs typeface="Calibri" pitchFamily="34" charset="0"/>
              </a:rPr>
              <a:t>Under this system we record only one aspect of a transaction</a:t>
            </a:r>
            <a:r>
              <a:rPr lang="en-US" b="1" dirty="0" smtClean="0">
                <a:solidFill>
                  <a:prstClr val="black"/>
                </a:solidFill>
                <a:latin typeface="Neo Sans Std" pitchFamily="34" charset="0"/>
                <a:cs typeface="Calibri" pitchFamily="34" charset="0"/>
              </a:rPr>
              <a:t>.</a:t>
            </a:r>
          </a:p>
          <a:p>
            <a:pPr marL="285750" indent="-285750">
              <a:spcAft>
                <a:spcPts val="1200"/>
              </a:spcAft>
              <a:buBlip>
                <a:blip r:embed="rId6"/>
              </a:buBlip>
            </a:pPr>
            <a:r>
              <a:rPr lang="en-US" b="1" dirty="0">
                <a:solidFill>
                  <a:prstClr val="black"/>
                </a:solidFill>
                <a:latin typeface="Neo Sans Std" pitchFamily="34" charset="0"/>
                <a:cs typeface="Calibri" pitchFamily="34" charset="0"/>
              </a:rPr>
              <a:t>Under this system we maintain only one book. </a:t>
            </a:r>
            <a:endParaRPr lang="en-US" b="1" dirty="0" smtClean="0">
              <a:solidFill>
                <a:prstClr val="black"/>
              </a:solidFill>
              <a:latin typeface="Neo Sans Std" pitchFamily="34" charset="0"/>
              <a:cs typeface="Calibri" pitchFamily="34" charset="0"/>
            </a:endParaRPr>
          </a:p>
          <a:p>
            <a:pPr marL="285750" indent="-285750">
              <a:spcAft>
                <a:spcPts val="1200"/>
              </a:spcAft>
              <a:buBlip>
                <a:blip r:embed="rId6"/>
              </a:buBlip>
            </a:pPr>
            <a:r>
              <a:rPr lang="en-US" b="1" dirty="0">
                <a:solidFill>
                  <a:prstClr val="black"/>
                </a:solidFill>
                <a:latin typeface="Neo Sans Std" pitchFamily="34" charset="0"/>
                <a:cs typeface="Calibri" pitchFamily="34" charset="0"/>
              </a:rPr>
              <a:t>It may be used by Sole trading concern</a:t>
            </a:r>
            <a:r>
              <a:rPr lang="en-US" b="1" dirty="0" smtClean="0">
                <a:solidFill>
                  <a:prstClr val="black"/>
                </a:solidFill>
                <a:latin typeface="Neo Sans Std" pitchFamily="34" charset="0"/>
                <a:cs typeface="Calibri" pitchFamily="34" charset="0"/>
              </a:rPr>
              <a:t>.</a:t>
            </a:r>
            <a:endParaRPr lang="en-US" b="1" dirty="0">
              <a:solidFill>
                <a:prstClr val="black"/>
              </a:solidFill>
              <a:latin typeface="Neo Sans Std" pitchFamily="34" charset="0"/>
              <a:cs typeface="Calibri" pitchFamily="34" charset="0"/>
            </a:endParaRPr>
          </a:p>
        </p:txBody>
      </p:sp>
      <p:sp>
        <p:nvSpPr>
          <p:cNvPr id="23" name="TextBox 22"/>
          <p:cNvSpPr txBox="1"/>
          <p:nvPr/>
        </p:nvSpPr>
        <p:spPr>
          <a:xfrm>
            <a:off x="381000" y="4343400"/>
            <a:ext cx="8599715" cy="1231106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marL="285750" indent="-285750">
              <a:spcAft>
                <a:spcPts val="1200"/>
              </a:spcAft>
              <a:buBlip>
                <a:blip r:embed="rId6"/>
              </a:buBlip>
            </a:pPr>
            <a:r>
              <a:rPr lang="en-US" b="1" dirty="0">
                <a:solidFill>
                  <a:prstClr val="black"/>
                </a:solidFill>
                <a:latin typeface="Neo Sans Std" pitchFamily="34" charset="0"/>
                <a:cs typeface="Calibri" pitchFamily="34" charset="0"/>
              </a:rPr>
              <a:t>The method of recording of two-fold aspects of a transaction</a:t>
            </a:r>
            <a:r>
              <a:rPr lang="en-US" b="1" dirty="0" smtClean="0">
                <a:solidFill>
                  <a:prstClr val="black"/>
                </a:solidFill>
                <a:latin typeface="Neo Sans Std" pitchFamily="34" charset="0"/>
                <a:cs typeface="Calibri" pitchFamily="34" charset="0"/>
              </a:rPr>
              <a:t>.</a:t>
            </a:r>
          </a:p>
          <a:p>
            <a:pPr marL="285750" indent="-285750">
              <a:spcAft>
                <a:spcPts val="1200"/>
              </a:spcAft>
              <a:buBlip>
                <a:blip r:embed="rId6"/>
              </a:buBlip>
            </a:pPr>
            <a:r>
              <a:rPr lang="en-US" b="1" dirty="0" smtClean="0">
                <a:solidFill>
                  <a:prstClr val="black"/>
                </a:solidFill>
                <a:latin typeface="Neo Sans Std" pitchFamily="34" charset="0"/>
                <a:cs typeface="Calibri" pitchFamily="34" charset="0"/>
              </a:rPr>
              <a:t>Two-fold aspects are Debit &amp; Credit.</a:t>
            </a:r>
          </a:p>
          <a:p>
            <a:pPr marL="285750" indent="-285750">
              <a:spcAft>
                <a:spcPts val="1200"/>
              </a:spcAft>
              <a:buBlip>
                <a:blip r:embed="rId6"/>
              </a:buBlip>
            </a:pPr>
            <a:r>
              <a:rPr lang="en-US" b="1" dirty="0" smtClean="0">
                <a:solidFill>
                  <a:prstClr val="black"/>
                </a:solidFill>
                <a:latin typeface="Neo Sans Std" pitchFamily="34" charset="0"/>
                <a:cs typeface="Calibri" pitchFamily="34" charset="0"/>
              </a:rPr>
              <a:t>For each Debit there is a corresponding Credit &amp; vice versa.</a:t>
            </a:r>
            <a:endParaRPr lang="en-US" b="1" dirty="0">
              <a:solidFill>
                <a:prstClr val="black"/>
              </a:solidFill>
              <a:latin typeface="Neo Sans Std" pitchFamily="34" charset="0"/>
              <a:cs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900480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isInverted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8" name="Object 3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5498542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6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1" name="Straight Connector 10"/>
          <p:cNvCxnSpPr/>
          <p:nvPr/>
        </p:nvCxnSpPr>
        <p:spPr>
          <a:xfrm rot="5400000">
            <a:off x="4581414" y="-2181922"/>
            <a:ext cx="0" cy="6345044"/>
          </a:xfrm>
          <a:prstGeom prst="line">
            <a:avLst/>
          </a:prstGeom>
          <a:ln w="3175">
            <a:solidFill>
              <a:schemeClr val="bg1">
                <a:lumMod val="75000"/>
                <a:alpha val="48000"/>
              </a:schemeClr>
            </a:solidFill>
          </a:ln>
          <a:effectLst>
            <a:outerShdw blurRad="38100" algn="ctr" rotWithShape="0">
              <a:schemeClr val="tx1">
                <a:alpha val="44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3" name="TextBox 12"/>
          <p:cNvSpPr txBox="1"/>
          <p:nvPr/>
        </p:nvSpPr>
        <p:spPr>
          <a:xfrm>
            <a:off x="324531" y="115669"/>
            <a:ext cx="8543925" cy="64633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b="1" dirty="0" smtClean="0">
                <a:solidFill>
                  <a:srgbClr val="0B538F"/>
                </a:solidFill>
                <a:latin typeface="Neo Sans Std Medium" pitchFamily="34" charset="0"/>
                <a:ea typeface="ＭＳ Ｐゴシック" charset="0"/>
              </a:rPr>
              <a:t>Tally ERP.9</a:t>
            </a:r>
          </a:p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sz="2400" b="1" dirty="0" smtClean="0">
                <a:solidFill>
                  <a:srgbClr val="0B538F"/>
                </a:solidFill>
                <a:latin typeface="Neo Sans Std" pitchFamily="34" charset="0"/>
                <a:ea typeface="ＭＳ Ｐゴシック" charset="0"/>
              </a:rPr>
              <a:t>Introduction of Accounting</a:t>
            </a:r>
            <a:endParaRPr lang="en-US" sz="2400" b="1" dirty="0">
              <a:solidFill>
                <a:srgbClr val="0B538F"/>
              </a:solidFill>
              <a:latin typeface="Neo Sans Std" pitchFamily="34" charset="0"/>
              <a:ea typeface="ＭＳ Ｐゴシック" charset="0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210572" y="1261646"/>
            <a:ext cx="4495800" cy="33855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sz="2200" b="1" dirty="0" smtClean="0">
                <a:solidFill>
                  <a:srgbClr val="0B538F"/>
                </a:solidFill>
                <a:latin typeface="Neo Sans Std" pitchFamily="34" charset="0"/>
                <a:ea typeface="ＭＳ Ｐゴシック" charset="0"/>
              </a:rPr>
              <a:t>Classification of Accounts:</a:t>
            </a:r>
            <a:endParaRPr lang="en-US" sz="2200" b="1" dirty="0">
              <a:solidFill>
                <a:srgbClr val="0B538F"/>
              </a:solidFill>
              <a:latin typeface="Neo Sans Std" pitchFamily="34" charset="0"/>
              <a:ea typeface="ＭＳ Ｐゴシック" charset="0"/>
            </a:endParaRPr>
          </a:p>
        </p:txBody>
      </p:sp>
      <p:graphicFrame>
        <p:nvGraphicFramePr>
          <p:cNvPr id="2" name="Diagram 1"/>
          <p:cNvGraphicFramePr/>
          <p:nvPr>
            <p:extLst>
              <p:ext uri="{D42A27DB-BD31-4B8C-83A1-F6EECF244321}">
                <p14:modId xmlns:p14="http://schemas.microsoft.com/office/powerpoint/2010/main" val="2975430360"/>
              </p:ext>
            </p:extLst>
          </p:nvPr>
        </p:nvGraphicFramePr>
        <p:xfrm>
          <a:off x="1548493" y="1828800"/>
          <a:ext cx="6096000" cy="4064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6" r:lo="rId7" r:qs="rId8" r:cs="rId9"/>
          </a:graphicData>
        </a:graphic>
      </p:graphicFrame>
    </p:spTree>
    <p:extLst>
      <p:ext uri="{BB962C8B-B14F-4D97-AF65-F5344CB8AC3E}">
        <p14:creationId xmlns:p14="http://schemas.microsoft.com/office/powerpoint/2010/main" val="15661800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isInverted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8" name="Object 3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860697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9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1" name="Straight Connector 10"/>
          <p:cNvCxnSpPr/>
          <p:nvPr/>
        </p:nvCxnSpPr>
        <p:spPr>
          <a:xfrm rot="5400000">
            <a:off x="4581414" y="-2181922"/>
            <a:ext cx="0" cy="6345044"/>
          </a:xfrm>
          <a:prstGeom prst="line">
            <a:avLst/>
          </a:prstGeom>
          <a:ln w="3175">
            <a:solidFill>
              <a:schemeClr val="bg1">
                <a:lumMod val="75000"/>
                <a:alpha val="48000"/>
              </a:schemeClr>
            </a:solidFill>
          </a:ln>
          <a:effectLst>
            <a:outerShdw blurRad="38100" algn="ctr" rotWithShape="0">
              <a:schemeClr val="tx1">
                <a:alpha val="44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3" name="TextBox 12"/>
          <p:cNvSpPr txBox="1"/>
          <p:nvPr/>
        </p:nvSpPr>
        <p:spPr>
          <a:xfrm>
            <a:off x="324531" y="115669"/>
            <a:ext cx="8543925" cy="64633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b="1" dirty="0" smtClean="0">
                <a:solidFill>
                  <a:srgbClr val="0B538F"/>
                </a:solidFill>
                <a:latin typeface="Neo Sans Std Medium" pitchFamily="34" charset="0"/>
                <a:ea typeface="ＭＳ Ｐゴシック" charset="0"/>
              </a:rPr>
              <a:t>Tally ERP.9</a:t>
            </a:r>
          </a:p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sz="2400" b="1" dirty="0" smtClean="0">
                <a:solidFill>
                  <a:srgbClr val="0B538F"/>
                </a:solidFill>
                <a:latin typeface="Neo Sans Std" pitchFamily="34" charset="0"/>
                <a:ea typeface="ＭＳ Ｐゴシック" charset="0"/>
              </a:rPr>
              <a:t>Introduction of Accounting</a:t>
            </a:r>
            <a:endParaRPr lang="en-US" sz="2400" b="1" dirty="0">
              <a:solidFill>
                <a:srgbClr val="0B538F"/>
              </a:solidFill>
              <a:latin typeface="Neo Sans Std" pitchFamily="34" charset="0"/>
              <a:ea typeface="ＭＳ Ｐゴシック" charset="0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-1" y="1261646"/>
            <a:ext cx="9094675" cy="33855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sz="2200" b="1" dirty="0" smtClean="0">
                <a:solidFill>
                  <a:srgbClr val="0B538F"/>
                </a:solidFill>
                <a:latin typeface="Neo Sans Std" pitchFamily="34" charset="0"/>
                <a:ea typeface="ＭＳ Ｐゴシック" charset="0"/>
              </a:rPr>
              <a:t>Personal Accounts:</a:t>
            </a:r>
            <a:endParaRPr lang="en-US" sz="2200" b="1" dirty="0">
              <a:solidFill>
                <a:srgbClr val="0B538F"/>
              </a:solidFill>
              <a:latin typeface="Neo Sans Std" pitchFamily="34" charset="0"/>
              <a:ea typeface="ＭＳ Ｐゴシック" charset="0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0" y="1676400"/>
            <a:ext cx="9094674" cy="1077218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spcAft>
                <a:spcPts val="1200"/>
              </a:spcAft>
            </a:pPr>
            <a:r>
              <a:rPr lang="en-US" b="1" dirty="0" smtClean="0">
                <a:solidFill>
                  <a:prstClr val="black"/>
                </a:solidFill>
                <a:latin typeface="Neo Sans Std" pitchFamily="34" charset="0"/>
                <a:cs typeface="Calibri" pitchFamily="34" charset="0"/>
              </a:rPr>
              <a:t>                          These are the accounts relating to Persons, Firms, Companies, Institutes etc.</a:t>
            </a:r>
          </a:p>
          <a:p>
            <a:pPr>
              <a:spcAft>
                <a:spcPts val="1200"/>
              </a:spcAft>
            </a:pPr>
            <a:r>
              <a:rPr lang="en-US" b="1" dirty="0" smtClean="0">
                <a:solidFill>
                  <a:prstClr val="black"/>
                </a:solidFill>
                <a:latin typeface="Neo Sans Std" pitchFamily="34" charset="0"/>
                <a:cs typeface="Calibri" pitchFamily="34" charset="0"/>
              </a:rPr>
              <a:t>Ex: Rama’s Account, SBI Bank, ABC Co. ltd etc.</a:t>
            </a:r>
            <a:endParaRPr lang="en-US" b="1" dirty="0">
              <a:solidFill>
                <a:prstClr val="black"/>
              </a:solidFill>
              <a:latin typeface="Neo Sans Std" pitchFamily="34" charset="0"/>
              <a:cs typeface="Calibri" pitchFamily="34" charset="0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0" y="3431738"/>
            <a:ext cx="9139409" cy="1292662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spcAft>
                <a:spcPts val="1200"/>
              </a:spcAft>
            </a:pPr>
            <a:r>
              <a:rPr lang="en-US" b="1" dirty="0" smtClean="0">
                <a:solidFill>
                  <a:prstClr val="black"/>
                </a:solidFill>
                <a:latin typeface="Neo Sans Std" pitchFamily="34" charset="0"/>
                <a:cs typeface="Calibri" pitchFamily="34" charset="0"/>
              </a:rPr>
              <a:t>                          These are the accounts relating to Properties &amp; Assets.</a:t>
            </a:r>
            <a:endParaRPr lang="en-US" b="1" dirty="0">
              <a:solidFill>
                <a:prstClr val="black"/>
              </a:solidFill>
              <a:latin typeface="Neo Sans Std" pitchFamily="34" charset="0"/>
              <a:cs typeface="Calibri" pitchFamily="34" charset="0"/>
            </a:endParaRPr>
          </a:p>
          <a:p>
            <a:pPr>
              <a:spcAft>
                <a:spcPts val="1200"/>
              </a:spcAft>
            </a:pPr>
            <a:r>
              <a:rPr lang="en-US" sz="2000" b="1" u="sng" dirty="0" smtClean="0">
                <a:solidFill>
                  <a:prstClr val="black"/>
                </a:solidFill>
                <a:latin typeface="Neo Sans Std" pitchFamily="34" charset="0"/>
                <a:cs typeface="Calibri" pitchFamily="34" charset="0"/>
              </a:rPr>
              <a:t>Tangible Assets</a:t>
            </a:r>
            <a:r>
              <a:rPr lang="en-US" b="1" dirty="0" smtClean="0">
                <a:solidFill>
                  <a:prstClr val="black"/>
                </a:solidFill>
                <a:latin typeface="Neo Sans Std" pitchFamily="34" charset="0"/>
                <a:cs typeface="Calibri" pitchFamily="34" charset="0"/>
              </a:rPr>
              <a:t>: Building, Furniture, Cash, Stock etc.</a:t>
            </a:r>
          </a:p>
          <a:p>
            <a:pPr>
              <a:spcAft>
                <a:spcPts val="1200"/>
              </a:spcAft>
            </a:pPr>
            <a:r>
              <a:rPr lang="en-US" sz="2000" b="1" u="sng" dirty="0">
                <a:solidFill>
                  <a:prstClr val="black"/>
                </a:solidFill>
                <a:latin typeface="Neo Sans Std" pitchFamily="34" charset="0"/>
                <a:cs typeface="Calibri" pitchFamily="34" charset="0"/>
              </a:rPr>
              <a:t>I</a:t>
            </a:r>
            <a:r>
              <a:rPr lang="en-US" sz="2000" b="1" u="sng" dirty="0" smtClean="0">
                <a:solidFill>
                  <a:prstClr val="black"/>
                </a:solidFill>
                <a:latin typeface="Neo Sans Std" pitchFamily="34" charset="0"/>
                <a:cs typeface="Calibri" pitchFamily="34" charset="0"/>
              </a:rPr>
              <a:t>ntangible </a:t>
            </a:r>
            <a:r>
              <a:rPr lang="en-US" sz="2000" b="1" u="sng" dirty="0">
                <a:solidFill>
                  <a:prstClr val="black"/>
                </a:solidFill>
                <a:latin typeface="Neo Sans Std" pitchFamily="34" charset="0"/>
                <a:cs typeface="Calibri" pitchFamily="34" charset="0"/>
              </a:rPr>
              <a:t>Assets</a:t>
            </a:r>
            <a:r>
              <a:rPr lang="en-US" b="1" dirty="0" smtClean="0">
                <a:solidFill>
                  <a:prstClr val="black"/>
                </a:solidFill>
                <a:latin typeface="Neo Sans Std" pitchFamily="34" charset="0"/>
                <a:cs typeface="Calibri" pitchFamily="34" charset="0"/>
              </a:rPr>
              <a:t>: Goodwill, Patent, Trade Mark, Copyright etc.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-1" y="2971800"/>
            <a:ext cx="9094675" cy="33855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sz="2200" b="1" dirty="0" smtClean="0">
                <a:solidFill>
                  <a:srgbClr val="0B538F"/>
                </a:solidFill>
                <a:latin typeface="Neo Sans Std" pitchFamily="34" charset="0"/>
                <a:ea typeface="ＭＳ Ｐゴシック" charset="0"/>
              </a:rPr>
              <a:t>Real Accounts:</a:t>
            </a:r>
            <a:endParaRPr lang="en-US" sz="2200" b="1" dirty="0">
              <a:solidFill>
                <a:srgbClr val="0B538F"/>
              </a:solidFill>
              <a:latin typeface="Neo Sans Std" pitchFamily="34" charset="0"/>
              <a:ea typeface="ＭＳ Ｐゴシック" charset="0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0" y="4953000"/>
            <a:ext cx="9094674" cy="33855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sz="2200" b="1" dirty="0" smtClean="0">
                <a:solidFill>
                  <a:srgbClr val="0B538F"/>
                </a:solidFill>
                <a:latin typeface="Neo Sans Std" pitchFamily="34" charset="0"/>
                <a:ea typeface="ＭＳ Ｐゴシック" charset="0"/>
              </a:rPr>
              <a:t>Nominal Accounts:</a:t>
            </a:r>
            <a:endParaRPr lang="en-US" sz="2200" b="1" dirty="0">
              <a:solidFill>
                <a:srgbClr val="0B538F"/>
              </a:solidFill>
              <a:latin typeface="Neo Sans Std" pitchFamily="34" charset="0"/>
              <a:ea typeface="ＭＳ Ｐゴシック" charset="0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0" y="5410200"/>
            <a:ext cx="9094675" cy="1077218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spcAft>
                <a:spcPts val="1200"/>
              </a:spcAft>
            </a:pPr>
            <a:r>
              <a:rPr lang="en-US" b="1" dirty="0" smtClean="0">
                <a:solidFill>
                  <a:prstClr val="black"/>
                </a:solidFill>
                <a:latin typeface="Neo Sans Std" pitchFamily="34" charset="0"/>
                <a:cs typeface="Calibri" pitchFamily="34" charset="0"/>
              </a:rPr>
              <a:t>                          These are the accounts relating to Expenses &amp; Losses, Incomes &amp; Gains.</a:t>
            </a:r>
          </a:p>
          <a:p>
            <a:pPr>
              <a:spcAft>
                <a:spcPts val="1200"/>
              </a:spcAft>
            </a:pPr>
            <a:r>
              <a:rPr lang="en-US" b="1" dirty="0" smtClean="0">
                <a:solidFill>
                  <a:prstClr val="black"/>
                </a:solidFill>
                <a:latin typeface="Neo Sans Std" pitchFamily="34" charset="0"/>
                <a:cs typeface="Calibri" pitchFamily="34" charset="0"/>
              </a:rPr>
              <a:t>Ex: Salary, Rent, Wages etc.</a:t>
            </a:r>
            <a:endParaRPr lang="en-US" b="1" dirty="0">
              <a:solidFill>
                <a:prstClr val="black"/>
              </a:solidFill>
              <a:latin typeface="Neo Sans Std" pitchFamily="34" charset="0"/>
              <a:cs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045811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isInverted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8" name="Object 3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3492396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0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1" name="Straight Connector 10"/>
          <p:cNvCxnSpPr/>
          <p:nvPr/>
        </p:nvCxnSpPr>
        <p:spPr>
          <a:xfrm rot="5400000">
            <a:off x="4581414" y="-2181922"/>
            <a:ext cx="0" cy="6345044"/>
          </a:xfrm>
          <a:prstGeom prst="line">
            <a:avLst/>
          </a:prstGeom>
          <a:ln w="3175">
            <a:solidFill>
              <a:schemeClr val="bg1">
                <a:lumMod val="75000"/>
                <a:alpha val="48000"/>
              </a:schemeClr>
            </a:solidFill>
          </a:ln>
          <a:effectLst>
            <a:outerShdw blurRad="38100" algn="ctr" rotWithShape="0">
              <a:schemeClr val="tx1">
                <a:alpha val="44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3" name="TextBox 12"/>
          <p:cNvSpPr txBox="1"/>
          <p:nvPr/>
        </p:nvSpPr>
        <p:spPr>
          <a:xfrm>
            <a:off x="324531" y="115669"/>
            <a:ext cx="8543925" cy="64633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b="1" dirty="0" smtClean="0">
                <a:solidFill>
                  <a:srgbClr val="0B538F"/>
                </a:solidFill>
                <a:latin typeface="Neo Sans Std Medium" pitchFamily="34" charset="0"/>
                <a:ea typeface="ＭＳ Ｐゴシック" charset="0"/>
              </a:rPr>
              <a:t>Tally ERP.9</a:t>
            </a:r>
          </a:p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sz="2400" b="1" dirty="0" smtClean="0">
                <a:solidFill>
                  <a:srgbClr val="0B538F"/>
                </a:solidFill>
                <a:latin typeface="Neo Sans Std" pitchFamily="34" charset="0"/>
                <a:ea typeface="ＭＳ Ｐゴシック" charset="0"/>
              </a:rPr>
              <a:t>Introduction of Accounting</a:t>
            </a:r>
            <a:endParaRPr lang="en-US" sz="2400" b="1" dirty="0">
              <a:solidFill>
                <a:srgbClr val="0B538F"/>
              </a:solidFill>
              <a:latin typeface="Neo Sans Std" pitchFamily="34" charset="0"/>
              <a:ea typeface="ＭＳ Ｐゴシック" charset="0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210572" y="1261646"/>
            <a:ext cx="4495800" cy="33855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sz="2200" b="1" dirty="0" smtClean="0">
                <a:solidFill>
                  <a:srgbClr val="0B538F"/>
                </a:solidFill>
                <a:latin typeface="Neo Sans Std" pitchFamily="34" charset="0"/>
                <a:ea typeface="ＭＳ Ｐゴシック" charset="0"/>
              </a:rPr>
              <a:t>Rules of Accounts:</a:t>
            </a:r>
            <a:endParaRPr lang="en-US" sz="2200" b="1" dirty="0">
              <a:solidFill>
                <a:srgbClr val="0B538F"/>
              </a:solidFill>
              <a:latin typeface="Neo Sans Std" pitchFamily="34" charset="0"/>
              <a:ea typeface="ＭＳ Ｐゴシック" charset="0"/>
            </a:endParaRPr>
          </a:p>
        </p:txBody>
      </p:sp>
      <p:graphicFrame>
        <p:nvGraphicFramePr>
          <p:cNvPr id="6" name="Diagram 5"/>
          <p:cNvGraphicFramePr/>
          <p:nvPr>
            <p:extLst>
              <p:ext uri="{D42A27DB-BD31-4B8C-83A1-F6EECF244321}">
                <p14:modId xmlns:p14="http://schemas.microsoft.com/office/powerpoint/2010/main" val="3174826044"/>
              </p:ext>
            </p:extLst>
          </p:nvPr>
        </p:nvGraphicFramePr>
        <p:xfrm>
          <a:off x="1524000" y="1955800"/>
          <a:ext cx="6096000" cy="4064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6" r:lo="rId7" r:qs="rId8" r:cs="rId9"/>
          </a:graphicData>
        </a:graphic>
      </p:graphicFrame>
    </p:spTree>
    <p:extLst>
      <p:ext uri="{BB962C8B-B14F-4D97-AF65-F5344CB8AC3E}">
        <p14:creationId xmlns:p14="http://schemas.microsoft.com/office/powerpoint/2010/main" val="7830719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isInverted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8" name="Object 3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3659659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5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1" name="Straight Connector 10"/>
          <p:cNvCxnSpPr/>
          <p:nvPr/>
        </p:nvCxnSpPr>
        <p:spPr>
          <a:xfrm rot="5400000">
            <a:off x="4581414" y="-2181922"/>
            <a:ext cx="0" cy="6345044"/>
          </a:xfrm>
          <a:prstGeom prst="line">
            <a:avLst/>
          </a:prstGeom>
          <a:ln w="3175">
            <a:solidFill>
              <a:schemeClr val="bg1">
                <a:lumMod val="75000"/>
                <a:alpha val="48000"/>
              </a:schemeClr>
            </a:solidFill>
          </a:ln>
          <a:effectLst>
            <a:outerShdw blurRad="38100" algn="ctr" rotWithShape="0">
              <a:schemeClr val="tx1">
                <a:alpha val="44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3" name="TextBox 12"/>
          <p:cNvSpPr txBox="1"/>
          <p:nvPr/>
        </p:nvSpPr>
        <p:spPr>
          <a:xfrm>
            <a:off x="324531" y="115669"/>
            <a:ext cx="8543925" cy="64633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b="1" dirty="0" smtClean="0">
                <a:solidFill>
                  <a:srgbClr val="0B538F"/>
                </a:solidFill>
                <a:latin typeface="Neo Sans Std Medium" pitchFamily="34" charset="0"/>
                <a:ea typeface="ＭＳ Ｐゴシック" charset="0"/>
              </a:rPr>
              <a:t>Tally ERP.9</a:t>
            </a:r>
          </a:p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sz="2400" b="1" dirty="0" smtClean="0">
                <a:solidFill>
                  <a:srgbClr val="0B538F"/>
                </a:solidFill>
                <a:latin typeface="Neo Sans Std" pitchFamily="34" charset="0"/>
                <a:ea typeface="ＭＳ Ｐゴシック" charset="0"/>
              </a:rPr>
              <a:t>Introduction of Accounting</a:t>
            </a:r>
            <a:endParaRPr lang="en-US" sz="2400" b="1" dirty="0">
              <a:solidFill>
                <a:srgbClr val="0B538F"/>
              </a:solidFill>
              <a:latin typeface="Neo Sans Std" pitchFamily="34" charset="0"/>
              <a:ea typeface="ＭＳ Ｐゴシック" charset="0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210572" y="1642646"/>
            <a:ext cx="4495800" cy="33855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sz="2200" b="1" dirty="0" smtClean="0">
                <a:solidFill>
                  <a:srgbClr val="0B538F"/>
                </a:solidFill>
                <a:latin typeface="Neo Sans Std" pitchFamily="34" charset="0"/>
                <a:ea typeface="ＭＳ Ｐゴシック" charset="0"/>
              </a:rPr>
              <a:t>How to apply the Rules:</a:t>
            </a:r>
            <a:endParaRPr lang="en-US" sz="2200" b="1" dirty="0">
              <a:solidFill>
                <a:srgbClr val="0B538F"/>
              </a:solidFill>
              <a:latin typeface="Neo Sans Std" pitchFamily="34" charset="0"/>
              <a:ea typeface="ＭＳ Ｐゴシック" charset="0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324531" y="2452807"/>
            <a:ext cx="8599715" cy="1661993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marL="285750" indent="-285750">
              <a:spcAft>
                <a:spcPts val="1200"/>
              </a:spcAft>
              <a:buBlip>
                <a:blip r:embed="rId6"/>
              </a:buBlip>
            </a:pPr>
            <a:r>
              <a:rPr lang="en-US" b="1" dirty="0" smtClean="0">
                <a:solidFill>
                  <a:prstClr val="black"/>
                </a:solidFill>
                <a:latin typeface="Neo Sans Std" pitchFamily="34" charset="0"/>
                <a:cs typeface="Calibri" pitchFamily="34" charset="0"/>
              </a:rPr>
              <a:t>Find out which are the two accounts effected in the transactions.</a:t>
            </a:r>
          </a:p>
          <a:p>
            <a:pPr marL="285750" indent="-285750">
              <a:spcAft>
                <a:spcPts val="1200"/>
              </a:spcAft>
              <a:buBlip>
                <a:blip r:embed="rId6"/>
              </a:buBlip>
            </a:pPr>
            <a:r>
              <a:rPr lang="en-US" b="1" dirty="0" smtClean="0">
                <a:solidFill>
                  <a:prstClr val="black"/>
                </a:solidFill>
                <a:latin typeface="Neo Sans Std" pitchFamily="34" charset="0"/>
                <a:cs typeface="Calibri" pitchFamily="34" charset="0"/>
              </a:rPr>
              <a:t>Find out to which type of account those two accounts belong.</a:t>
            </a:r>
          </a:p>
          <a:p>
            <a:pPr marL="285750" indent="-285750">
              <a:spcAft>
                <a:spcPts val="1200"/>
              </a:spcAft>
              <a:buBlip>
                <a:blip r:embed="rId6"/>
              </a:buBlip>
            </a:pPr>
            <a:r>
              <a:rPr lang="en-US" b="1" dirty="0" smtClean="0">
                <a:solidFill>
                  <a:prstClr val="black"/>
                </a:solidFill>
                <a:latin typeface="Neo Sans Std" pitchFamily="34" charset="0"/>
                <a:cs typeface="Calibri" pitchFamily="34" charset="0"/>
              </a:rPr>
              <a:t>Apply the respective Rules to the above two accounts.</a:t>
            </a:r>
          </a:p>
          <a:p>
            <a:pPr marL="285750" indent="-285750">
              <a:spcAft>
                <a:spcPts val="1200"/>
              </a:spcAft>
              <a:buBlip>
                <a:blip r:embed="rId6"/>
              </a:buBlip>
            </a:pPr>
            <a:r>
              <a:rPr lang="en-US" b="1" dirty="0" smtClean="0">
                <a:solidFill>
                  <a:prstClr val="black"/>
                </a:solidFill>
                <a:latin typeface="Neo Sans Std" pitchFamily="34" charset="0"/>
                <a:cs typeface="Calibri" pitchFamily="34" charset="0"/>
              </a:rPr>
              <a:t>Write the particular account to be Debited &amp; Credited</a:t>
            </a:r>
            <a:r>
              <a:rPr lang="en-US" b="1" dirty="0">
                <a:solidFill>
                  <a:prstClr val="black"/>
                </a:solidFill>
                <a:latin typeface="Neo Sans Std" pitchFamily="34" charset="0"/>
                <a:cs typeface="Calibri" pitchFamily="34" charset="0"/>
              </a:rPr>
              <a:t>.</a:t>
            </a:r>
            <a:endParaRPr lang="en-US" b="1" dirty="0" smtClean="0">
              <a:solidFill>
                <a:prstClr val="black"/>
              </a:solidFill>
              <a:latin typeface="Neo Sans Std" pitchFamily="34" charset="0"/>
              <a:cs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500587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isInverted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8" name="Object 3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5559341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7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1" name="Straight Connector 10"/>
          <p:cNvCxnSpPr/>
          <p:nvPr/>
        </p:nvCxnSpPr>
        <p:spPr>
          <a:xfrm rot="5400000">
            <a:off x="4581414" y="-2181922"/>
            <a:ext cx="0" cy="6345044"/>
          </a:xfrm>
          <a:prstGeom prst="line">
            <a:avLst/>
          </a:prstGeom>
          <a:ln w="3175">
            <a:solidFill>
              <a:schemeClr val="bg1">
                <a:lumMod val="75000"/>
                <a:alpha val="48000"/>
              </a:schemeClr>
            </a:solidFill>
          </a:ln>
          <a:effectLst>
            <a:outerShdw blurRad="38100" algn="ctr" rotWithShape="0">
              <a:schemeClr val="tx1">
                <a:alpha val="44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3" name="TextBox 12"/>
          <p:cNvSpPr txBox="1"/>
          <p:nvPr/>
        </p:nvSpPr>
        <p:spPr>
          <a:xfrm>
            <a:off x="324531" y="115669"/>
            <a:ext cx="8543925" cy="64633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b="1" dirty="0" smtClean="0">
                <a:solidFill>
                  <a:srgbClr val="0B538F"/>
                </a:solidFill>
                <a:latin typeface="Neo Sans Std Medium" pitchFamily="34" charset="0"/>
                <a:ea typeface="ＭＳ Ｐゴシック" charset="0"/>
              </a:rPr>
              <a:t>Tally ERP.9</a:t>
            </a:r>
          </a:p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sz="2400" b="1" dirty="0" smtClean="0">
                <a:solidFill>
                  <a:srgbClr val="0B538F"/>
                </a:solidFill>
                <a:latin typeface="Neo Sans Std" pitchFamily="34" charset="0"/>
                <a:ea typeface="ＭＳ Ｐゴシック" charset="0"/>
              </a:rPr>
              <a:t>Introduction of Accounting</a:t>
            </a:r>
            <a:endParaRPr lang="en-US" sz="2400" b="1" dirty="0">
              <a:solidFill>
                <a:srgbClr val="0B538F"/>
              </a:solidFill>
              <a:latin typeface="Neo Sans Std" pitchFamily="34" charset="0"/>
              <a:ea typeface="ＭＳ Ｐゴシック" charset="0"/>
            </a:endParaRPr>
          </a:p>
        </p:txBody>
      </p:sp>
      <p:graphicFrame>
        <p:nvGraphicFramePr>
          <p:cNvPr id="2" name="Table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41373005"/>
              </p:ext>
            </p:extLst>
          </p:nvPr>
        </p:nvGraphicFramePr>
        <p:xfrm>
          <a:off x="1066800" y="1530312"/>
          <a:ext cx="7086600" cy="227968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771650"/>
                <a:gridCol w="1771650"/>
                <a:gridCol w="1771650"/>
                <a:gridCol w="1771650"/>
              </a:tblGrid>
              <a:tr h="508000">
                <a:tc>
                  <a:txBody>
                    <a:bodyPr/>
                    <a:lstStyle/>
                    <a:p>
                      <a:pPr algn="l"/>
                      <a:r>
                        <a:rPr lang="en-US" dirty="0" smtClean="0"/>
                        <a:t>Account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dirty="0" smtClean="0"/>
                        <a:t>Type of Account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dirty="0" smtClean="0"/>
                        <a:t>Rules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dirty="0" smtClean="0"/>
                        <a:t>Debit/Credit</a:t>
                      </a:r>
                      <a:endParaRPr lang="en-US" dirty="0"/>
                    </a:p>
                  </a:txBody>
                  <a:tcPr/>
                </a:tc>
              </a:tr>
              <a:tr h="565804">
                <a:tc>
                  <a:txBody>
                    <a:bodyPr/>
                    <a:lstStyle/>
                    <a:p>
                      <a:pPr algn="l"/>
                      <a:r>
                        <a:rPr lang="en-US" dirty="0" smtClean="0"/>
                        <a:t>Salary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dirty="0" smtClean="0"/>
                        <a:t>Nominal A/c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dirty="0" smtClean="0"/>
                        <a:t>Expenses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dirty="0" smtClean="0"/>
                        <a:t>Debit</a:t>
                      </a:r>
                      <a:endParaRPr lang="en-US" dirty="0"/>
                    </a:p>
                  </a:txBody>
                  <a:tcPr/>
                </a:tc>
              </a:tr>
              <a:tr h="565804">
                <a:tc>
                  <a:txBody>
                    <a:bodyPr/>
                    <a:lstStyle/>
                    <a:p>
                      <a:pPr algn="l"/>
                      <a:r>
                        <a:rPr lang="en-US" dirty="0" smtClean="0"/>
                        <a:t>Cash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dirty="0" smtClean="0"/>
                        <a:t>Real A/c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dirty="0" smtClean="0"/>
                        <a:t>Goes out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dirty="0" smtClean="0"/>
                        <a:t>Credit</a:t>
                      </a:r>
                      <a:endParaRPr lang="en-US" dirty="0"/>
                    </a:p>
                  </a:txBody>
                  <a:tcPr/>
                </a:tc>
              </a:tr>
              <a:tr h="565804">
                <a:tc gridSpan="4"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 Salary A/c.</a:t>
                      </a:r>
                      <a:r>
                        <a:rPr lang="en-US" baseline="0" dirty="0" smtClean="0"/>
                        <a:t> . . . . . . . . . . . . . . . . ..</a:t>
                      </a:r>
                      <a:r>
                        <a:rPr lang="en-US" baseline="0" dirty="0" err="1" smtClean="0"/>
                        <a:t>Dr</a:t>
                      </a:r>
                      <a:r>
                        <a:rPr lang="en-US" baseline="0" dirty="0" smtClean="0"/>
                        <a:t>        </a:t>
                      </a:r>
                    </a:p>
                    <a:p>
                      <a:pPr algn="ctr"/>
                      <a:r>
                        <a:rPr lang="en-US" baseline="0" dirty="0" smtClean="0"/>
                        <a:t>   To Cash A/c</a:t>
                      </a:r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l"/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l"/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l"/>
                      <a:endParaRPr lang="en-US" dirty="0"/>
                    </a:p>
                  </a:txBody>
                  <a:tcPr/>
                </a:tc>
              </a:tr>
            </a:tbl>
          </a:graphicData>
        </a:graphic>
      </p:graphicFrame>
      <p:graphicFrame>
        <p:nvGraphicFramePr>
          <p:cNvPr id="8" name="Table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44390836"/>
              </p:ext>
            </p:extLst>
          </p:nvPr>
        </p:nvGraphicFramePr>
        <p:xfrm>
          <a:off x="1066800" y="4425912"/>
          <a:ext cx="7086600" cy="227968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771650"/>
                <a:gridCol w="1771650"/>
                <a:gridCol w="1771650"/>
                <a:gridCol w="1771650"/>
              </a:tblGrid>
              <a:tr h="508000">
                <a:tc>
                  <a:txBody>
                    <a:bodyPr/>
                    <a:lstStyle/>
                    <a:p>
                      <a:pPr algn="l"/>
                      <a:r>
                        <a:rPr lang="en-US" dirty="0" smtClean="0"/>
                        <a:t>Account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dirty="0" smtClean="0"/>
                        <a:t>Type of Account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dirty="0" smtClean="0"/>
                        <a:t>Rules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dirty="0" smtClean="0"/>
                        <a:t>Debit/Credit</a:t>
                      </a:r>
                      <a:endParaRPr lang="en-US" dirty="0"/>
                    </a:p>
                  </a:txBody>
                  <a:tcPr/>
                </a:tc>
              </a:tr>
              <a:tr h="565804">
                <a:tc>
                  <a:txBody>
                    <a:bodyPr/>
                    <a:lstStyle/>
                    <a:p>
                      <a:pPr algn="l"/>
                      <a:r>
                        <a:rPr lang="en-US" dirty="0" smtClean="0"/>
                        <a:t>Cash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dirty="0" smtClean="0"/>
                        <a:t>Real A/c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dirty="0" smtClean="0"/>
                        <a:t>Comes</a:t>
                      </a:r>
                      <a:r>
                        <a:rPr lang="en-US" baseline="0" dirty="0" smtClean="0"/>
                        <a:t> in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dirty="0" smtClean="0"/>
                        <a:t>Debit</a:t>
                      </a:r>
                      <a:endParaRPr lang="en-US" dirty="0"/>
                    </a:p>
                  </a:txBody>
                  <a:tcPr/>
                </a:tc>
              </a:tr>
              <a:tr h="565804">
                <a:tc>
                  <a:txBody>
                    <a:bodyPr/>
                    <a:lstStyle/>
                    <a:p>
                      <a:pPr algn="l"/>
                      <a:r>
                        <a:rPr lang="en-US" dirty="0" smtClean="0"/>
                        <a:t>Commission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dirty="0" smtClean="0"/>
                        <a:t>Nominal A/c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dirty="0" smtClean="0"/>
                        <a:t>Income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dirty="0" smtClean="0"/>
                        <a:t>Credit</a:t>
                      </a:r>
                      <a:endParaRPr lang="en-US" dirty="0"/>
                    </a:p>
                  </a:txBody>
                  <a:tcPr/>
                </a:tc>
              </a:tr>
              <a:tr h="565804">
                <a:tc gridSpan="4"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     Cash A/c.</a:t>
                      </a:r>
                      <a:r>
                        <a:rPr lang="en-US" baseline="0" dirty="0" smtClean="0"/>
                        <a:t> . . . . . . . . . . . . . . . . . . . .</a:t>
                      </a:r>
                      <a:r>
                        <a:rPr lang="en-US" baseline="0" dirty="0" err="1" smtClean="0"/>
                        <a:t>Dr</a:t>
                      </a:r>
                      <a:r>
                        <a:rPr lang="en-US" baseline="0" dirty="0" smtClean="0"/>
                        <a:t>        </a:t>
                      </a:r>
                    </a:p>
                    <a:p>
                      <a:pPr algn="ctr"/>
                      <a:r>
                        <a:rPr lang="en-US" baseline="0" dirty="0" smtClean="0"/>
                        <a:t>            To Commission A/c</a:t>
                      </a:r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l"/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l"/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l"/>
                      <a:endParaRPr lang="en-US" dirty="0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9" name="TextBox 8"/>
          <p:cNvSpPr txBox="1"/>
          <p:nvPr/>
        </p:nvSpPr>
        <p:spPr>
          <a:xfrm>
            <a:off x="210571" y="1078468"/>
            <a:ext cx="8866075" cy="369332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spcAft>
                <a:spcPts val="1200"/>
              </a:spcAft>
            </a:pPr>
            <a:r>
              <a:rPr lang="en-US" b="1" dirty="0" smtClean="0">
                <a:solidFill>
                  <a:prstClr val="black"/>
                </a:solidFill>
                <a:latin typeface="Neo Sans Std" pitchFamily="34" charset="0"/>
                <a:cs typeface="Calibri" pitchFamily="34" charset="0"/>
              </a:rPr>
              <a:t>1. Paid Salary Rs.10,000/-</a:t>
            </a:r>
            <a:endParaRPr lang="en-US" b="1" dirty="0">
              <a:solidFill>
                <a:prstClr val="black"/>
              </a:solidFill>
              <a:latin typeface="Neo Sans Std" pitchFamily="34" charset="0"/>
              <a:cs typeface="Calibri" pitchFamily="34" charset="0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228600" y="3962400"/>
            <a:ext cx="8866075" cy="369332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spcAft>
                <a:spcPts val="1200"/>
              </a:spcAft>
            </a:pPr>
            <a:r>
              <a:rPr lang="en-US" b="1" dirty="0" smtClean="0">
                <a:solidFill>
                  <a:prstClr val="black"/>
                </a:solidFill>
                <a:latin typeface="Neo Sans Std" pitchFamily="34" charset="0"/>
                <a:cs typeface="Calibri" pitchFamily="34" charset="0"/>
              </a:rPr>
              <a:t>2.Recevied Commission Rs.10,000/-</a:t>
            </a:r>
            <a:endParaRPr lang="en-US" b="1" dirty="0">
              <a:solidFill>
                <a:prstClr val="black"/>
              </a:solidFill>
              <a:latin typeface="Neo Sans Std" pitchFamily="34" charset="0"/>
              <a:cs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930645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isInverted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_rels/theme2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png"/></Relationships>
</file>

<file path=ppt/theme/_rels/theme3.xml.rels><?xml version="1.0" encoding="UTF-8" standalone="yes"?>
<Relationships xmlns="http://schemas.openxmlformats.org/package/2006/relationships"><Relationship Id="rId1" Type="http://schemas.openxmlformats.org/officeDocument/2006/relationships/image" Target="../media/image2.jpeg"/></Relationships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2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blipFill dpi="0" rotWithShape="1">
          <a:blip xmlns:r="http://schemas.openxmlformats.org/officeDocument/2006/relationships" r:embed="rId1">
            <a:alphaModFix amt="1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3.xml><?xml version="1.0" encoding="utf-8"?>
<a:theme xmlns:a="http://schemas.openxmlformats.org/drawingml/2006/main" name="Opulent">
  <a:themeElements>
    <a:clrScheme name="Opulent">
      <a:dk1>
        <a:sysClr val="windowText" lastClr="000000"/>
      </a:dk1>
      <a:lt1>
        <a:sysClr val="window" lastClr="FFFFFF"/>
      </a:lt1>
      <a:dk2>
        <a:srgbClr val="B13F9A"/>
      </a:dk2>
      <a:lt2>
        <a:srgbClr val="F4E7ED"/>
      </a:lt2>
      <a:accent1>
        <a:srgbClr val="B83D68"/>
      </a:accent1>
      <a:accent2>
        <a:srgbClr val="AC66BB"/>
      </a:accent2>
      <a:accent3>
        <a:srgbClr val="DE6C36"/>
      </a:accent3>
      <a:accent4>
        <a:srgbClr val="F9B639"/>
      </a:accent4>
      <a:accent5>
        <a:srgbClr val="CF6DA4"/>
      </a:accent5>
      <a:accent6>
        <a:srgbClr val="FA8D3D"/>
      </a:accent6>
      <a:hlink>
        <a:srgbClr val="FFDE66"/>
      </a:hlink>
      <a:folHlink>
        <a:srgbClr val="D490C5"/>
      </a:folHlink>
    </a:clrScheme>
    <a:fontScheme name="Opulent">
      <a:majorFont>
        <a:latin typeface="Trebuchet MS"/>
        <a:ea typeface=""/>
        <a:cs typeface=""/>
        <a:font script="Jpan" typeface="HG丸ｺﾞｼｯｸM-PRO"/>
        <a:font script="Hang" typeface="HY그래픽M"/>
        <a:font script="Hans" typeface="黑体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Trebuchet MS"/>
        <a:ea typeface=""/>
        <a:cs typeface=""/>
        <a:font script="Jpan" typeface="HG丸ｺﾞｼｯｸM-PRO"/>
        <a:font script="Hang" typeface="HY그래픽M"/>
        <a:font script="Hans" typeface="华文新魏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pulent">
      <a:fillStyleLst>
        <a:solidFill>
          <a:schemeClr val="phClr"/>
        </a:solidFill>
        <a:gradFill rotWithShape="1">
          <a:gsLst>
            <a:gs pos="0">
              <a:schemeClr val="phClr">
                <a:tint val="15000"/>
                <a:satMod val="250000"/>
              </a:schemeClr>
            </a:gs>
            <a:gs pos="49000">
              <a:schemeClr val="phClr">
                <a:tint val="50000"/>
                <a:satMod val="200000"/>
              </a:schemeClr>
            </a:gs>
            <a:gs pos="49100">
              <a:schemeClr val="phClr">
                <a:tint val="64000"/>
                <a:satMod val="160000"/>
              </a:schemeClr>
            </a:gs>
            <a:gs pos="92000">
              <a:schemeClr val="phClr">
                <a:tint val="50000"/>
                <a:satMod val="200000"/>
              </a:schemeClr>
            </a:gs>
            <a:gs pos="100000">
              <a:schemeClr val="phClr">
                <a:tint val="43000"/>
                <a:satMod val="190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74000"/>
              </a:schemeClr>
            </a:gs>
            <a:gs pos="49000">
              <a:schemeClr val="phClr">
                <a:tint val="96000"/>
                <a:shade val="84000"/>
                <a:satMod val="110000"/>
              </a:schemeClr>
            </a:gs>
            <a:gs pos="49100">
              <a:schemeClr val="phClr">
                <a:shade val="55000"/>
                <a:satMod val="150000"/>
              </a:schemeClr>
            </a:gs>
            <a:gs pos="92000">
              <a:schemeClr val="phClr">
                <a:tint val="98000"/>
                <a:shade val="90000"/>
                <a:satMod val="128000"/>
              </a:schemeClr>
            </a:gs>
            <a:gs pos="100000">
              <a:schemeClr val="phClr">
                <a:tint val="90000"/>
                <a:shade val="97000"/>
                <a:satMod val="128000"/>
              </a:schemeClr>
            </a:gs>
          </a:gsLst>
          <a:lin ang="5400000" scaled="1"/>
        </a:gradFill>
      </a:fillStyleLst>
      <a:lnStyleLst>
        <a:ln w="11430" cap="flat" cmpd="sng" algn="ctr">
          <a:solidFill>
            <a:schemeClr val="phClr"/>
          </a:solidFill>
          <a:prstDash val="solid"/>
        </a:ln>
        <a:ln w="40000" cap="flat" cmpd="sng" algn="ctr">
          <a:solidFill>
            <a:schemeClr val="phClr"/>
          </a:solidFill>
          <a:prstDash val="solid"/>
        </a:ln>
        <a:ln w="318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50800" dist="25000" dir="5400000" rotWithShape="0">
              <a:schemeClr val="phClr">
                <a:shade val="30000"/>
                <a:satMod val="150000"/>
                <a:alpha val="38000"/>
              </a:schemeClr>
            </a:outerShdw>
          </a:effectLst>
        </a:effectStyle>
        <a:effectStyle>
          <a:effectLst>
            <a:outerShdw blurRad="39000" dist="25400" dir="5400000" rotWithShape="0">
              <a:schemeClr val="phClr">
                <a:shade val="33000"/>
                <a:alpha val="83000"/>
              </a:schemeClr>
            </a:outerShdw>
          </a:effectLst>
        </a:effectStyle>
        <a:effectStyle>
          <a:effectLst>
            <a:outerShdw blurRad="39000" dist="25400" dir="5400000" rotWithShape="0">
              <a:schemeClr val="phClr">
                <a:shade val="33000"/>
                <a:alpha val="83000"/>
              </a:schemeClr>
            </a:outerShdw>
          </a:effectLst>
          <a:scene3d>
            <a:camera prst="orthographicFront" fov="0">
              <a:rot lat="0" lon="0" rev="0"/>
            </a:camera>
            <a:lightRig rig="contrasting" dir="t">
              <a:rot lat="0" lon="0" rev="1500000"/>
            </a:lightRig>
          </a:scene3d>
          <a:sp3d extrusionH="127000" prstMaterial="powder">
            <a:bevelT w="50800" h="635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78000"/>
                <a:satMod val="220000"/>
              </a:schemeClr>
            </a:gs>
            <a:gs pos="100000">
              <a:schemeClr val="phClr">
                <a:shade val="35000"/>
                <a:satMod val="155000"/>
              </a:schemeClr>
            </a:gs>
          </a:gsLst>
          <a:path path="circle">
            <a:fillToRect l="50000" t="50000" r="50000" b="50000"/>
          </a:path>
        </a:gradFill>
        <a:blipFill>
          <a:blip xmlns:r="http://schemas.openxmlformats.org/officeDocument/2006/relationships" r:embed="rId1">
            <a:duotone>
              <a:schemeClr val="phClr">
                <a:shade val="60000"/>
                <a:satMod val="180000"/>
              </a:schemeClr>
              <a:schemeClr val="phClr">
                <a:tint val="500"/>
                <a:satMod val="150000"/>
              </a:schemeClr>
            </a:duotone>
          </a:blip>
          <a:tile tx="0" ty="0" sx="50000" sy="50000" flip="none" algn="tl"/>
        </a:blip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540</TotalTime>
  <Words>1943</Words>
  <Application>Microsoft Office PowerPoint</Application>
  <PresentationFormat>On-screen Show (4:3)</PresentationFormat>
  <Paragraphs>306</Paragraphs>
  <Slides>32</Slides>
  <Notes>0</Notes>
  <HiddenSlides>0</HiddenSlides>
  <MMClips>0</MMClips>
  <ScaleCrop>false</ScaleCrop>
  <HeadingPairs>
    <vt:vector size="6" baseType="variant"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2</vt:i4>
      </vt:variant>
    </vt:vector>
  </HeadingPairs>
  <TitlesOfParts>
    <vt:vector size="36" baseType="lpstr">
      <vt:lpstr>Office Theme</vt:lpstr>
      <vt:lpstr>2_Office Theme</vt:lpstr>
      <vt:lpstr>Opulent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Krishn Ronit</dc:creator>
  <cp:lastModifiedBy>Sadanand</cp:lastModifiedBy>
  <cp:revision>140</cp:revision>
  <dcterms:created xsi:type="dcterms:W3CDTF">2010-10-10T17:29:35Z</dcterms:created>
  <dcterms:modified xsi:type="dcterms:W3CDTF">2022-06-13T10:07:04Z</dcterms:modified>
</cp:coreProperties>
</file>